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Override5.xml" ContentType="application/vnd.openxmlformats-officedocument.themeOverrid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0" r:id="rId5"/>
    <p:sldMasterId id="2147483675" r:id="rId6"/>
    <p:sldMasterId id="2147483703" r:id="rId7"/>
  </p:sldMasterIdLst>
  <p:notesMasterIdLst>
    <p:notesMasterId r:id="rId32"/>
  </p:notesMasterIdLst>
  <p:sldIdLst>
    <p:sldId id="2147480332" r:id="rId8"/>
    <p:sldId id="2145708853" r:id="rId9"/>
    <p:sldId id="2147480335" r:id="rId10"/>
    <p:sldId id="2147482418" r:id="rId11"/>
    <p:sldId id="2147480825" r:id="rId12"/>
    <p:sldId id="2147482427" r:id="rId13"/>
    <p:sldId id="2147482419" r:id="rId14"/>
    <p:sldId id="2147482428" r:id="rId15"/>
    <p:sldId id="2147481998" r:id="rId16"/>
    <p:sldId id="2147482436" r:id="rId17"/>
    <p:sldId id="2147482420" r:id="rId18"/>
    <p:sldId id="2147482429" r:id="rId19"/>
    <p:sldId id="2147482430" r:id="rId20"/>
    <p:sldId id="2147480828" r:id="rId21"/>
    <p:sldId id="2147482421" r:id="rId22"/>
    <p:sldId id="2147482432" r:id="rId23"/>
    <p:sldId id="2147482433" r:id="rId24"/>
    <p:sldId id="2147482434" r:id="rId25"/>
    <p:sldId id="2147482435" r:id="rId26"/>
    <p:sldId id="2147482422" r:id="rId27"/>
    <p:sldId id="2147482437" r:id="rId28"/>
    <p:sldId id="2147482438" r:id="rId29"/>
    <p:sldId id="2147482439" r:id="rId30"/>
    <p:sldId id="2147482426" r:id="rId31"/>
  </p:sldIdLst>
  <p:sldSz cx="12188825" cy="6858000"/>
  <p:notesSz cx="6858000" cy="12188825"/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77"/>
    <p:restoredTop sz="94595"/>
  </p:normalViewPr>
  <p:slideViewPr>
    <p:cSldViewPr>
      <p:cViewPr varScale="1">
        <p:scale>
          <a:sx n="141" d="100"/>
          <a:sy n="141" d="100"/>
        </p:scale>
        <p:origin x="21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vin Kruse" userId="0dffe21b-6cbf-4269-8923-6c53de4b0e71" providerId="ADAL" clId="{72D27C59-4DB0-5A7F-9FB5-F71D08AB1BC5}"/>
    <pc:docChg chg="undo redo custSel modSld">
      <pc:chgData name="Marvin Kruse" userId="0dffe21b-6cbf-4269-8923-6c53de4b0e71" providerId="ADAL" clId="{72D27C59-4DB0-5A7F-9FB5-F71D08AB1BC5}" dt="2026-05-12T07:50:24.520" v="55" actId="14100"/>
      <pc:docMkLst>
        <pc:docMk/>
      </pc:docMkLst>
      <pc:sldChg chg="addSp delSp modSp mod">
        <pc:chgData name="Marvin Kruse" userId="0dffe21b-6cbf-4269-8923-6c53de4b0e71" providerId="ADAL" clId="{72D27C59-4DB0-5A7F-9FB5-F71D08AB1BC5}" dt="2026-05-12T07:50:24.520" v="55" actId="14100"/>
        <pc:sldMkLst>
          <pc:docMk/>
          <pc:sldMk cId="878515738" sldId="2147480828"/>
        </pc:sldMkLst>
        <pc:spChg chg="mod">
          <ac:chgData name="Marvin Kruse" userId="0dffe21b-6cbf-4269-8923-6c53de4b0e71" providerId="ADAL" clId="{72D27C59-4DB0-5A7F-9FB5-F71D08AB1BC5}" dt="2026-05-08T14:22:36.515" v="49" actId="1036"/>
          <ac:spMkLst>
            <pc:docMk/>
            <pc:sldMk cId="878515738" sldId="2147480828"/>
            <ac:spMk id="10" creationId="{335B3735-46AC-62F8-F91D-3A6A27B9A5B4}"/>
          </ac:spMkLst>
        </pc:spChg>
        <pc:picChg chg="add mod">
          <ac:chgData name="Marvin Kruse" userId="0dffe21b-6cbf-4269-8923-6c53de4b0e71" providerId="ADAL" clId="{72D27C59-4DB0-5A7F-9FB5-F71D08AB1BC5}" dt="2026-05-12T07:50:24.520" v="55" actId="14100"/>
          <ac:picMkLst>
            <pc:docMk/>
            <pc:sldMk cId="878515738" sldId="2147480828"/>
            <ac:picMk id="9" creationId="{0BE66D08-685E-46F3-996D-A0B0B798DE46}"/>
          </ac:picMkLst>
        </pc:picChg>
      </pc:sldChg>
      <pc:sldChg chg="modSp mod">
        <pc:chgData name="Marvin Kruse" userId="0dffe21b-6cbf-4269-8923-6c53de4b0e71" providerId="ADAL" clId="{72D27C59-4DB0-5A7F-9FB5-F71D08AB1BC5}" dt="2026-05-08T17:48:19.304" v="54" actId="20577"/>
        <pc:sldMkLst>
          <pc:docMk/>
          <pc:sldMk cId="970451040" sldId="2147482418"/>
        </pc:sldMkLst>
        <pc:spChg chg="mod">
          <ac:chgData name="Marvin Kruse" userId="0dffe21b-6cbf-4269-8923-6c53de4b0e71" providerId="ADAL" clId="{72D27C59-4DB0-5A7F-9FB5-F71D08AB1BC5}" dt="2026-05-08T17:48:19.304" v="54" actId="20577"/>
          <ac:spMkLst>
            <pc:docMk/>
            <pc:sldMk cId="970451040" sldId="2147482418"/>
            <ac:spMk id="7" creationId="{BC1855AB-CDDB-2D35-8253-4D4E0AED2442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rzeugter Code</c:v>
                </c:pt>
              </c:strCache>
            </c:strRef>
          </c:tx>
          <c:spPr>
            <a:ln w="38100" cap="flat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circle"/>
            <c:size val="6"/>
            <c:spPr>
              <a:solidFill>
                <a:schemeClr val="tx1"/>
              </a:solidFill>
              <a:ln w="9525" cap="flat">
                <a:solidFill>
                  <a:schemeClr val="tx1"/>
                </a:solidFill>
                <a:prstDash val="solid"/>
                <a:round/>
              </a:ln>
              <a:effectLst/>
            </c:spPr>
          </c:marker>
          <c:cat>
            <c:strRef>
              <c:f>Sheet1!$A$2:$A$11</c:f>
              <c:strCache>
                <c:ptCount val="10"/>
                <c:pt idx="0">
                  <c:v>Start</c:v>
                </c:pt>
                <c:pt idx="9">
                  <c:v>Ende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0</c:v>
                </c:pt>
                <c:pt idx="1">
                  <c:v>12</c:v>
                </c:pt>
                <c:pt idx="2">
                  <c:v>24</c:v>
                </c:pt>
                <c:pt idx="3">
                  <c:v>38</c:v>
                </c:pt>
                <c:pt idx="4">
                  <c:v>52</c:v>
                </c:pt>
                <c:pt idx="5">
                  <c:v>64</c:v>
                </c:pt>
                <c:pt idx="6">
                  <c:v>74</c:v>
                </c:pt>
                <c:pt idx="7">
                  <c:v>80</c:v>
                </c:pt>
                <c:pt idx="8">
                  <c:v>84</c:v>
                </c:pt>
                <c:pt idx="9">
                  <c:v>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CFA-C34C-9AE0-1360A42C984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erbrauchte Tokens</c:v>
                </c:pt>
              </c:strCache>
            </c:strRef>
          </c:tx>
          <c:spPr>
            <a:ln w="38100" cap="flat">
              <a:solidFill>
                <a:schemeClr val="accent4"/>
              </a:solidFill>
              <a:prstDash val="solid"/>
              <a:round/>
            </a:ln>
            <a:effectLst/>
          </c:spPr>
          <c:marker>
            <c:symbol val="circle"/>
            <c:size val="6"/>
            <c:spPr>
              <a:solidFill>
                <a:schemeClr val="accent4"/>
              </a:solidFill>
              <a:ln w="9525" cap="flat">
                <a:solidFill>
                  <a:schemeClr val="accent4"/>
                </a:solidFill>
                <a:prstDash val="solid"/>
                <a:round/>
              </a:ln>
              <a:effectLst/>
            </c:spPr>
          </c:marker>
          <c:cat>
            <c:strRef>
              <c:f>Sheet1!$A$2:$A$11</c:f>
              <c:strCache>
                <c:ptCount val="10"/>
                <c:pt idx="0">
                  <c:v>Start</c:v>
                </c:pt>
                <c:pt idx="9">
                  <c:v>Ende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2</c:v>
                </c:pt>
                <c:pt idx="1">
                  <c:v>4</c:v>
                </c:pt>
                <c:pt idx="2">
                  <c:v>6</c:v>
                </c:pt>
                <c:pt idx="3">
                  <c:v>10</c:v>
                </c:pt>
                <c:pt idx="4">
                  <c:v>16</c:v>
                </c:pt>
                <c:pt idx="5">
                  <c:v>24</c:v>
                </c:pt>
                <c:pt idx="6">
                  <c:v>36</c:v>
                </c:pt>
                <c:pt idx="7">
                  <c:v>52</c:v>
                </c:pt>
                <c:pt idx="8">
                  <c:v>72</c:v>
                </c:pt>
                <c:pt idx="9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CFA-C34C-9AE0-1360A42C98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4734554"/>
        <c:axId val="2094734552"/>
      </c:lineChart>
      <c:catAx>
        <c:axId val="209473455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 cap="flat">
            <a:solidFill>
              <a:srgbClr val="888888"/>
            </a:solidFill>
            <a:prstDash val="solid"/>
            <a:round/>
          </a:ln>
        </c:spPr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  <c:max val="110"/>
          <c:min val="0"/>
        </c:scaling>
        <c:delete val="0"/>
        <c:axPos val="l"/>
        <c:majorGridlines>
          <c:spPr>
            <a:ln w="9525" cap="flat">
              <a:solidFill>
                <a:schemeClr val="tx1"/>
              </a:solidFill>
              <a:prstDash val="dash"/>
              <a:round/>
            </a:ln>
          </c:spPr>
        </c:majorGridlines>
        <c:numFmt formatCode="General" sourceLinked="0"/>
        <c:majorTickMark val="out"/>
        <c:minorTickMark val="none"/>
        <c:tickLblPos val="nextTo"/>
        <c:spPr>
          <a:ln w="12700" cap="flat">
            <a:solidFill>
              <a:srgbClr val="888888"/>
            </a:solidFill>
            <a:prstDash val="solid"/>
            <a:round/>
          </a:ln>
        </c:spPr>
        <c:crossAx val="209473455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noFill/>
        </a:ln>
        <a:effectLst/>
      </c:spPr>
    </c:plotArea>
    <c:plotVisOnly val="1"/>
    <c:dispBlanksAs val="span"/>
    <c:showDLblsOverMax val="1"/>
  </c:chart>
  <c:spPr>
    <a:solidFill>
      <a:schemeClr val="bg1">
        <a:lumMod val="95000"/>
      </a:schemeClr>
    </a:solidFill>
    <a:ln>
      <a:noFill/>
    </a:ln>
    <a:effectLst/>
  </c:spPr>
  <c:txPr>
    <a:bodyPr/>
    <a:lstStyle/>
    <a:p>
      <a:pPr>
        <a:defRPr>
          <a:solidFill>
            <a:schemeClr val="tx1"/>
          </a:solidFill>
          <a:latin typeface="+mn-lt"/>
        </a:defRPr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rzeugter Code</c:v>
                </c:pt>
              </c:strCache>
            </c:strRef>
          </c:tx>
          <c:spPr>
            <a:ln w="38100" cap="flat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circle"/>
            <c:size val="6"/>
            <c:spPr>
              <a:solidFill>
                <a:schemeClr val="tx1"/>
              </a:solidFill>
              <a:ln w="9525" cap="flat">
                <a:solidFill>
                  <a:schemeClr val="tx1"/>
                </a:solidFill>
                <a:prstDash val="solid"/>
                <a:round/>
              </a:ln>
              <a:effectLst/>
            </c:spPr>
          </c:marker>
          <c:cat>
            <c:strRef>
              <c:f>Sheet1!$A$2:$A$11</c:f>
              <c:strCache>
                <c:ptCount val="10"/>
                <c:pt idx="0">
                  <c:v>Start</c:v>
                </c:pt>
                <c:pt idx="9">
                  <c:v>Ende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0</c:v>
                </c:pt>
                <c:pt idx="1">
                  <c:v>3</c:v>
                </c:pt>
                <c:pt idx="2">
                  <c:v>6</c:v>
                </c:pt>
                <c:pt idx="3">
                  <c:v>10</c:v>
                </c:pt>
                <c:pt idx="4">
                  <c:v>15</c:v>
                </c:pt>
                <c:pt idx="5">
                  <c:v>35</c:v>
                </c:pt>
                <c:pt idx="6">
                  <c:v>58</c:v>
                </c:pt>
                <c:pt idx="7">
                  <c:v>78</c:v>
                </c:pt>
                <c:pt idx="8">
                  <c:v>92</c:v>
                </c:pt>
                <c:pt idx="9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F76-8147-8F15-F42FB2632B7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erbrauchte Tokens</c:v>
                </c:pt>
              </c:strCache>
            </c:strRef>
          </c:tx>
          <c:spPr>
            <a:ln w="38100" cap="flat">
              <a:solidFill>
                <a:schemeClr val="accent4"/>
              </a:solidFill>
              <a:prstDash val="solid"/>
              <a:round/>
            </a:ln>
            <a:effectLst/>
          </c:spPr>
          <c:marker>
            <c:symbol val="circle"/>
            <c:size val="6"/>
            <c:spPr>
              <a:solidFill>
                <a:schemeClr val="accent4"/>
              </a:solidFill>
              <a:ln w="9525" cap="flat">
                <a:solidFill>
                  <a:schemeClr val="accent4"/>
                </a:solidFill>
                <a:prstDash val="solid"/>
                <a:round/>
              </a:ln>
              <a:effectLst/>
            </c:spPr>
          </c:marker>
          <c:cat>
            <c:strRef>
              <c:f>Sheet1!$A$2:$A$11</c:f>
              <c:strCache>
                <c:ptCount val="10"/>
                <c:pt idx="0">
                  <c:v>Start</c:v>
                </c:pt>
                <c:pt idx="9">
                  <c:v>Ende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4</c:v>
                </c:pt>
                <c:pt idx="1">
                  <c:v>8</c:v>
                </c:pt>
                <c:pt idx="2">
                  <c:v>12</c:v>
                </c:pt>
                <c:pt idx="3">
                  <c:v>16</c:v>
                </c:pt>
                <c:pt idx="4">
                  <c:v>22</c:v>
                </c:pt>
                <c:pt idx="5">
                  <c:v>30</c:v>
                </c:pt>
                <c:pt idx="6">
                  <c:v>37</c:v>
                </c:pt>
                <c:pt idx="7">
                  <c:v>42</c:v>
                </c:pt>
                <c:pt idx="8">
                  <c:v>46</c:v>
                </c:pt>
                <c:pt idx="9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F76-8147-8F15-F42FB2632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4734554"/>
        <c:axId val="2094734552"/>
      </c:lineChart>
      <c:catAx>
        <c:axId val="209473455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 cap="flat">
            <a:solidFill>
              <a:srgbClr val="888888"/>
            </a:solidFill>
            <a:prstDash val="solid"/>
            <a:round/>
          </a:ln>
        </c:spPr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  <c:max val="110"/>
          <c:min val="0"/>
        </c:scaling>
        <c:delete val="0"/>
        <c:axPos val="l"/>
        <c:majorGridlines>
          <c:spPr>
            <a:ln w="9525" cap="flat">
              <a:solidFill>
                <a:schemeClr val="tx1"/>
              </a:solidFill>
              <a:prstDash val="dash"/>
              <a:round/>
            </a:ln>
          </c:spPr>
        </c:majorGridlines>
        <c:numFmt formatCode="General" sourceLinked="0"/>
        <c:majorTickMark val="out"/>
        <c:minorTickMark val="none"/>
        <c:tickLblPos val="nextTo"/>
        <c:spPr>
          <a:ln w="12700" cap="flat">
            <a:solidFill>
              <a:srgbClr val="888888"/>
            </a:solidFill>
            <a:prstDash val="solid"/>
            <a:round/>
          </a:ln>
        </c:spPr>
        <c:crossAx val="209473455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noFill/>
        </a:ln>
        <a:effectLst/>
      </c:spPr>
    </c:plotArea>
    <c:plotVisOnly val="1"/>
    <c:dispBlanksAs val="span"/>
    <c:showDLblsOverMax val="1"/>
  </c:chart>
  <c:spPr>
    <a:solidFill>
      <a:schemeClr val="bg1">
        <a:lumMod val="95000"/>
      </a:schemeClr>
    </a:solidFill>
    <a:ln>
      <a:noFill/>
    </a:ln>
    <a:effectLst/>
  </c:spPr>
  <c:txPr>
    <a:bodyPr/>
    <a:lstStyle/>
    <a:p>
      <a:pPr>
        <a:defRPr>
          <a:solidFill>
            <a:schemeClr val="tx1"/>
          </a:solidFill>
          <a:latin typeface="Sen ExtraBold" pitchFamily="2" charset="0"/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5869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225425" y="1524000"/>
            <a:ext cx="7308850" cy="4113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5865813"/>
            <a:ext cx="5486400" cy="479901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99272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AE2A78-5982-0A92-D4CF-C1FDB03BD6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02F3747-6F73-4EAE-881B-DC45E17696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225425" y="1524000"/>
            <a:ext cx="7308850" cy="4113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2F05F06-A4EF-B69D-7FDF-78D6B18334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5865813"/>
            <a:ext cx="5486400" cy="479901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21185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B04CEC-BD39-A9FB-D889-94E18EFDA3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B843FDD-893B-580E-FD47-74C5F9CE40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225425" y="1524000"/>
            <a:ext cx="7308850" cy="4113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D4AF94A-8AC2-DB70-5B8E-71040522AC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5865813"/>
            <a:ext cx="5486400" cy="47990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ndré: </a:t>
            </a:r>
            <a:r>
              <a:rPr lang="en-US" dirty="0" err="1"/>
              <a:t>Vom</a:t>
            </a:r>
            <a:r>
              <a:rPr lang="en-US" dirty="0"/>
              <a:t> </a:t>
            </a:r>
            <a:r>
              <a:rPr lang="en-US" dirty="0" err="1"/>
              <a:t>Prinzip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raxis.</a:t>
            </a:r>
          </a:p>
        </p:txBody>
      </p:sp>
    </p:spTree>
    <p:extLst>
      <p:ext uri="{BB962C8B-B14F-4D97-AF65-F5344CB8AC3E}">
        <p14:creationId xmlns:p14="http://schemas.microsoft.com/office/powerpoint/2010/main" val="2380788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07569-6AF5-B116-3FAB-2D62B482AC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B3F7BA9-F4A7-C783-8986-00B807A54B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397000" y="788988"/>
            <a:ext cx="4064000" cy="2286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7A30F4A-8DA7-B092-C2BC-B1EE3BB5B8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1FB1F9-026C-A09D-FF36-DFA08888CF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A2E12F-3031-4FBF-8FF0-654FF4ED7D26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57077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B5693D-E2F3-437B-5D72-47343BFA25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0AE0D2B-337C-34C9-24FE-8F87359D52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397000" y="788988"/>
            <a:ext cx="4064000" cy="2286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5DA1BD4-3A62-1DF5-C0C0-536C42BA85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6EFE9EF-AEAC-3308-F524-BE6E964396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A2E12F-3031-4FBF-8FF0-654FF4ED7D26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63813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0DE4FD-949A-8129-FEFB-7748E93F05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750F3D2-0F48-BF4F-D602-9AEDCC09DA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397000" y="788988"/>
            <a:ext cx="4064000" cy="2286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3582BAB-D4F2-F07D-8014-E445BE480D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8C58479-AC4C-6D7D-04A5-08F8F66A2A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A2E12F-3031-4FBF-8FF0-654FF4ED7D26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89931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24491F-A9F7-E3FC-AB2C-0F796DAD1D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09CAF7A-875C-6237-F099-36B8109F1B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397000" y="788988"/>
            <a:ext cx="4064000" cy="2286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2A80214-07C2-1FA4-759A-A62ACA184E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E256EF-656E-9E5E-B7BE-C1ADD2209A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A2E12F-3031-4FBF-8FF0-654FF4ED7D26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14333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7D17FE-6919-F94E-2DBE-D86340C546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F22FE97-CF0E-C50F-3C58-ACFE4CCD13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225425" y="1524000"/>
            <a:ext cx="7308850" cy="4113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48F0B54-1AE8-ADFB-6B5D-D58D58312B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5865813"/>
            <a:ext cx="5486400" cy="47990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Gemeinsamer Abschluss.</a:t>
            </a:r>
          </a:p>
        </p:txBody>
      </p:sp>
    </p:spTree>
    <p:extLst>
      <p:ext uri="{BB962C8B-B14F-4D97-AF65-F5344CB8AC3E}">
        <p14:creationId xmlns:p14="http://schemas.microsoft.com/office/powerpoint/2010/main" val="250662424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96BEB2-30C1-BDE9-FF27-E0FD93BB0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CC3DB34-FCBA-E47F-1F40-4AE55C0EF0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397000" y="788988"/>
            <a:ext cx="4064000" cy="2286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B422019-164A-E7B4-5518-E6E40F26B9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7876B68-273E-5BD9-2625-E05CB92853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A2E12F-3031-4FBF-8FF0-654FF4ED7D26}" type="slidenum">
              <a:rPr kumimoji="0" lang="de-DE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32080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30215-49E7-1F3B-85B1-A531259840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90306D1-E8E6-8419-D1EE-FD2241F868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397000" y="788988"/>
            <a:ext cx="4064000" cy="2286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314E8CB-7094-810A-E316-F7D0367B50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2A6088-7C24-6FBD-2018-F4FE905123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A2E12F-3031-4FBF-8FF0-654FF4ED7D26}" type="slidenum">
              <a:rPr kumimoji="0" lang="de-DE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32893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926A1-4A3B-6738-4343-E86DEFE4A2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786CE4F-DBE6-5267-205A-B85EAA7E8C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397000" y="788988"/>
            <a:ext cx="4064000" cy="2286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E0C1317-762E-7E7B-D720-2655C17A80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7C7A92-DA5E-B617-7416-9BF9A66779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A2E12F-3031-4FBF-8FF0-654FF4ED7D26}" type="slidenum">
              <a:rPr kumimoji="0" lang="de-DE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3229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225425" y="1524000"/>
            <a:ext cx="7308850" cy="4113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5865813"/>
            <a:ext cx="5486400" cy="479901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96358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9A9C64-3E29-B733-BE11-2895E0C907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E2320A0-D7D1-7BD0-5B70-BBF1574ABF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225425" y="1524000"/>
            <a:ext cx="7308850" cy="4113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0C7761F-5006-E67C-9CE0-7307C0E2A2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5865813"/>
            <a:ext cx="5486400" cy="47990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3132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225425" y="1524000"/>
            <a:ext cx="7308850" cy="4113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5865813"/>
            <a:ext cx="5486400" cy="4799012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Marvin</a:t>
            </a:r>
          </a:p>
        </p:txBody>
      </p:sp>
    </p:spTree>
    <p:extLst>
      <p:ext uri="{BB962C8B-B14F-4D97-AF65-F5344CB8AC3E}">
        <p14:creationId xmlns:p14="http://schemas.microsoft.com/office/powerpoint/2010/main" val="11097094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D8121A-4DF7-44FE-BB55-03D3052FB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A69DB71-ED8F-FCCF-533B-DA9251C868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397000" y="788988"/>
            <a:ext cx="4064000" cy="2286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C720930-D5F7-B6A6-A611-8435502F76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127FEB5-C53B-1068-F034-5A2D1C6718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A2E12F-3031-4FBF-8FF0-654FF4ED7D26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60423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225425" y="1524000"/>
            <a:ext cx="7308850" cy="4113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5865813"/>
            <a:ext cx="5486400" cy="479901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69309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017904-9E63-7440-16AA-D61DF26690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26F40C2-35F1-2009-610C-5C3501EF7B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225425" y="1524000"/>
            <a:ext cx="7308850" cy="4113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C9BC616-F57E-3185-F6A0-7A8AFBCC49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5865813"/>
            <a:ext cx="5486400" cy="4799012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ndré</a:t>
            </a:r>
          </a:p>
        </p:txBody>
      </p:sp>
    </p:spTree>
    <p:extLst>
      <p:ext uri="{BB962C8B-B14F-4D97-AF65-F5344CB8AC3E}">
        <p14:creationId xmlns:p14="http://schemas.microsoft.com/office/powerpoint/2010/main" val="25848242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0" y="788988"/>
            <a:ext cx="4064000" cy="2286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A2E12F-3031-4FBF-8FF0-654FF4ED7D2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n Extra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n Extra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33343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1507D8-798B-B974-8BCE-B8E834299B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BE0826F-9F89-C6E6-1E7D-F7F0BB3998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397000" y="788988"/>
            <a:ext cx="4064000" cy="2286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B37E45D-B5B9-ECC0-426E-81B92800DE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EA8CCAE-88A2-E410-2560-A4B7BE7790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A2E12F-3031-4FBF-8FF0-654FF4ED7D2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n Extra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n Extra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3057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E2A4BD-60E4-17DC-789C-1400C552CE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C3D56F4-32F2-F1A2-F60B-76CE79CDE9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225425" y="1524000"/>
            <a:ext cx="7308850" cy="4113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272985E-9530-6015-7008-16E1C7834D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5865813"/>
            <a:ext cx="5486400" cy="4799012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Marvin</a:t>
            </a:r>
          </a:p>
        </p:txBody>
      </p:sp>
    </p:spTree>
    <p:extLst>
      <p:ext uri="{BB962C8B-B14F-4D97-AF65-F5344CB8AC3E}">
        <p14:creationId xmlns:p14="http://schemas.microsoft.com/office/powerpoint/2010/main" val="4132424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sv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sv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sv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microsoft.com/office/2007/relationships/hdphoto" Target="../media/hdphoto1.wd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8.svg"/><Relationship Id="rId4" Type="http://schemas.openxmlformats.org/officeDocument/2006/relationships/image" Target="../media/image7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sv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A3E0560E-17DA-6740-B9F1-F5861768C35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cxnSp>
        <p:nvCxnSpPr>
          <p:cNvPr id="9" name="Gerader Verbinder 16">
            <a:extLst>
              <a:ext uri="{FF2B5EF4-FFF2-40B4-BE49-F238E27FC236}">
                <a16:creationId xmlns:a16="http://schemas.microsoft.com/office/drawing/2014/main" id="{78B3225C-25C1-9145-8D5B-6386B208F348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2">
            <a:extLst>
              <a:ext uri="{FF2B5EF4-FFF2-40B4-BE49-F238E27FC236}">
                <a16:creationId xmlns:a16="http://schemas.microsoft.com/office/drawing/2014/main" id="{D1BC3677-869E-3448-B1A4-0DC9493B74BC}"/>
              </a:ext>
            </a:extLst>
          </p:cNvPr>
          <p:cNvSpPr/>
          <p:nvPr userDrawn="1"/>
        </p:nvSpPr>
        <p:spPr>
          <a:xfrm>
            <a:off x="11838683" y="6577201"/>
            <a:ext cx="21955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0" i="0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 b="0" i="0">
              <a:latin typeface="Sen ExtraBold" pitchFamily="2" charset="0"/>
            </a:endParaRP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2E213C6A-2880-2A06-01C0-9AA650B0AE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10503838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Text Content 2/3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7">
            <a:extLst>
              <a:ext uri="{FF2B5EF4-FFF2-40B4-BE49-F238E27FC236}">
                <a16:creationId xmlns:a16="http://schemas.microsoft.com/office/drawing/2014/main" id="{C98C121B-5EC2-5441-A9DE-BE7CECE97B2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39696" y="1"/>
            <a:ext cx="7949128" cy="64520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Sen ExtraBold" pitchFamily="2" charset="0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  <p:cxnSp>
        <p:nvCxnSpPr>
          <p:cNvPr id="6" name="Gerade Verbindung 8">
            <a:extLst>
              <a:ext uri="{FF2B5EF4-FFF2-40B4-BE49-F238E27FC236}">
                <a16:creationId xmlns:a16="http://schemas.microsoft.com/office/drawing/2014/main" id="{C9104B42-D448-7A46-B612-1F7F3AF7FEDA}"/>
              </a:ext>
            </a:extLst>
          </p:cNvPr>
          <p:cNvCxnSpPr>
            <a:cxnSpLocks/>
          </p:cNvCxnSpPr>
          <p:nvPr userDrawn="1"/>
        </p:nvCxnSpPr>
        <p:spPr>
          <a:xfrm>
            <a:off x="4223238" y="-1"/>
            <a:ext cx="0" cy="646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0B355FB2-6065-9F49-BEC9-84922FFAB52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cxnSp>
        <p:nvCxnSpPr>
          <p:cNvPr id="21" name="Gerader Verbinder 16">
            <a:extLst>
              <a:ext uri="{FF2B5EF4-FFF2-40B4-BE49-F238E27FC236}">
                <a16:creationId xmlns:a16="http://schemas.microsoft.com/office/drawing/2014/main" id="{A78882B6-3455-4341-AD7B-5276BCD3D7AD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2">
            <a:extLst>
              <a:ext uri="{FF2B5EF4-FFF2-40B4-BE49-F238E27FC236}">
                <a16:creationId xmlns:a16="http://schemas.microsoft.com/office/drawing/2014/main" id="{02DA6CDE-7ED0-BC42-A5FA-AFAAAB3E13E6}"/>
              </a:ext>
            </a:extLst>
          </p:cNvPr>
          <p:cNvSpPr/>
          <p:nvPr userDrawn="1"/>
        </p:nvSpPr>
        <p:spPr>
          <a:xfrm>
            <a:off x="11838683" y="6577201"/>
            <a:ext cx="21955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0" i="0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 b="0" i="0">
              <a:latin typeface="Sen ExtraBold" pitchFamily="2" charset="0"/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161B5E4-606F-CA41-BBEC-F93C49D85F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888" y="1763713"/>
            <a:ext cx="3586785" cy="4437062"/>
          </a:xfrm>
        </p:spPr>
        <p:txBody>
          <a:bodyPr rIns="72000"/>
          <a:lstStyle>
            <a:lvl1pPr>
              <a:defRPr b="0" i="0">
                <a:latin typeface="Sen ExtraBold" pitchFamily="2" charset="0"/>
              </a:defRPr>
            </a:lvl1pPr>
            <a:lvl2pPr>
              <a:defRPr b="0" i="0">
                <a:latin typeface="Sen ExtraBold" pitchFamily="2" charset="0"/>
              </a:defRPr>
            </a:lvl2pPr>
            <a:lvl3pPr>
              <a:defRPr b="0" i="0">
                <a:latin typeface="Sen ExtraBold" pitchFamily="2" charset="0"/>
              </a:defRPr>
            </a:lvl3pPr>
            <a:lvl4pPr>
              <a:defRPr b="0" i="0">
                <a:latin typeface="Sen ExtraBold" pitchFamily="2" charset="0"/>
              </a:defRPr>
            </a:lvl4pPr>
            <a:lvl5pPr>
              <a:defRPr b="0" i="0">
                <a:latin typeface="Sen ExtraBol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BEEE67C0-95B0-4E4B-821F-57755B6580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783" y="365539"/>
            <a:ext cx="3588890" cy="124650"/>
          </a:xfrm>
        </p:spPr>
        <p:txBody>
          <a:bodyPr>
            <a:noAutofit/>
          </a:bodyPr>
          <a:lstStyle>
            <a:lvl1pPr>
              <a:defRPr sz="900" b="0" i="0">
                <a:latin typeface="Sen ExtraBold" pitchFamily="2" charset="0"/>
              </a:defRPr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FB1BA58A-66DF-DE4E-B6D9-935EF8B726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9" y="555464"/>
            <a:ext cx="3764779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E6FE1C8C-517B-5940-9887-B73D4B94A3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9" y="1039043"/>
            <a:ext cx="3764779" cy="307777"/>
          </a:xfrm>
        </p:spPr>
        <p:txBody>
          <a:bodyPr>
            <a:noAutofit/>
          </a:bodyPr>
          <a:lstStyle>
            <a:lvl1pPr marL="0" indent="0">
              <a:buNone/>
              <a:defRPr sz="1999"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28BCBB46-8AC6-146A-0D26-6E2B1AA0B3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15893742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Text Content 1/2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1AC6592E-525F-6445-8101-292B367AC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888" y="1763713"/>
            <a:ext cx="5273888" cy="443706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  <a:lvl2pPr>
              <a:defRPr b="0" i="0">
                <a:latin typeface="Sen ExtraBold" pitchFamily="2" charset="0"/>
              </a:defRPr>
            </a:lvl2pPr>
            <a:lvl3pPr>
              <a:defRPr b="0" i="0">
                <a:latin typeface="Sen ExtraBold" pitchFamily="2" charset="0"/>
              </a:defRPr>
            </a:lvl3pPr>
            <a:lvl4pPr>
              <a:defRPr b="0" i="0">
                <a:latin typeface="Sen ExtraBold" pitchFamily="2" charset="0"/>
              </a:defRPr>
            </a:lvl4pPr>
            <a:lvl5pPr>
              <a:defRPr b="0" i="0">
                <a:latin typeface="Sen ExtraBol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0762ACD0-6CFF-6945-B453-BF9FD3CF6AC3}"/>
              </a:ext>
            </a:extLst>
          </p:cNvPr>
          <p:cNvCxnSpPr>
            <a:cxnSpLocks/>
          </p:cNvCxnSpPr>
          <p:nvPr userDrawn="1"/>
        </p:nvCxnSpPr>
        <p:spPr>
          <a:xfrm>
            <a:off x="6093213" y="0"/>
            <a:ext cx="0" cy="6469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3651B028-EE6A-4C4D-A273-452CFDDCC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 b="0" i="0">
                <a:latin typeface="Sen ExtraBold" pitchFamily="2" charset="0"/>
              </a:defRPr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CA7B17E3-7A59-0344-B7E3-6FAD0FFF44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5274177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22C6F52-4B86-4D48-9BDB-2E37C5A964D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381" y="6220275"/>
            <a:ext cx="5550054" cy="21544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700" b="0" i="0">
                <a:latin typeface="Sen ExtraBold" pitchFamily="2" charset="0"/>
              </a:defRPr>
            </a:lvl1pPr>
            <a:lvl2pPr marL="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/>
              <a:t>Fußnote: 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4398849-F03D-6441-83CB-E610407022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5613525" cy="461665"/>
          </a:xfrm>
        </p:spPr>
        <p:txBody>
          <a:bodyPr/>
          <a:lstStyle>
            <a:lvl1pPr>
              <a:defRPr b="1" i="0">
                <a:latin typeface="Bandeins Strange" pitchFamily="2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0525AA5F-1A19-1D40-8A3D-BE169AD6DAD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07609" y="7567"/>
            <a:ext cx="6081216" cy="6455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Sen ExtraBold" pitchFamily="2" charset="0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7D57854-645A-C64C-A071-BCD64DED2E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cxnSp>
        <p:nvCxnSpPr>
          <p:cNvPr id="21" name="Gerader Verbinder 16">
            <a:extLst>
              <a:ext uri="{FF2B5EF4-FFF2-40B4-BE49-F238E27FC236}">
                <a16:creationId xmlns:a16="http://schemas.microsoft.com/office/drawing/2014/main" id="{3666DADE-0D62-F946-B47F-F3CB27FEC808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2">
            <a:extLst>
              <a:ext uri="{FF2B5EF4-FFF2-40B4-BE49-F238E27FC236}">
                <a16:creationId xmlns:a16="http://schemas.microsoft.com/office/drawing/2014/main" id="{55FD76AD-C768-C14B-9A41-A3C222370A0F}"/>
              </a:ext>
            </a:extLst>
          </p:cNvPr>
          <p:cNvSpPr/>
          <p:nvPr userDrawn="1"/>
        </p:nvSpPr>
        <p:spPr>
          <a:xfrm>
            <a:off x="11838683" y="6577201"/>
            <a:ext cx="21955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0" i="0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 b="0" i="0">
              <a:latin typeface="Sen ExtraBold" pitchFamily="2" charset="0"/>
            </a:endParaRP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5215B970-9165-EE07-B600-2661FBC26B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6206232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Text Content 1/3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9A20FEA4-2E2E-F446-AAB9-B4771ECD76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888" y="1763713"/>
            <a:ext cx="7477502" cy="4437062"/>
          </a:xfrm>
          <a:prstGeom prst="rect">
            <a:avLst/>
          </a:prstGeom>
        </p:spPr>
        <p:txBody>
          <a:bodyPr rIns="72000"/>
          <a:lstStyle>
            <a:lvl1pPr>
              <a:defRPr b="0" i="0">
                <a:latin typeface="Sen ExtraBold" pitchFamily="2" charset="0"/>
              </a:defRPr>
            </a:lvl1pPr>
            <a:lvl2pPr>
              <a:defRPr b="0" i="0">
                <a:latin typeface="Sen ExtraBold" pitchFamily="2" charset="0"/>
              </a:defRPr>
            </a:lvl2pPr>
            <a:lvl3pPr>
              <a:defRPr b="0" i="0">
                <a:latin typeface="Sen ExtraBold" pitchFamily="2" charset="0"/>
              </a:defRPr>
            </a:lvl3pPr>
            <a:lvl4pPr>
              <a:defRPr b="0" i="0">
                <a:latin typeface="Sen ExtraBold" pitchFamily="2" charset="0"/>
              </a:defRPr>
            </a:lvl4pPr>
            <a:lvl5pPr>
              <a:defRPr b="0" i="0">
                <a:latin typeface="Sen ExtraBol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CEFFA14C-2457-B04E-BDA5-9675E1AA0A0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979122" y="0"/>
            <a:ext cx="4209703" cy="6459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Sen ExtraBold" pitchFamily="2" charset="0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Hier können Bilder/Diagramme oder     Icons platziert werden</a:t>
            </a:r>
          </a:p>
          <a:p>
            <a:pPr lvl="0"/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3E6FEA05-3678-5E41-B361-AA3411EBE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7484698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43F6144-4345-D148-A140-8544C6A8E2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7484698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2870DC7-BF76-0C48-85A9-0F72B548529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cxnSp>
        <p:nvCxnSpPr>
          <p:cNvPr id="18" name="Gerader Verbinder 16">
            <a:extLst>
              <a:ext uri="{FF2B5EF4-FFF2-40B4-BE49-F238E27FC236}">
                <a16:creationId xmlns:a16="http://schemas.microsoft.com/office/drawing/2014/main" id="{20F488C5-9F27-0848-93B9-2633ADFFA945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2">
            <a:extLst>
              <a:ext uri="{FF2B5EF4-FFF2-40B4-BE49-F238E27FC236}">
                <a16:creationId xmlns:a16="http://schemas.microsoft.com/office/drawing/2014/main" id="{4D4C9824-D908-854A-9812-4CC331276439}"/>
              </a:ext>
            </a:extLst>
          </p:cNvPr>
          <p:cNvSpPr/>
          <p:nvPr userDrawn="1"/>
        </p:nvSpPr>
        <p:spPr>
          <a:xfrm>
            <a:off x="11838683" y="6577201"/>
            <a:ext cx="21955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0" i="0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 b="0" i="0">
              <a:latin typeface="Sen ExtraBold" pitchFamily="2" charset="0"/>
            </a:endParaRP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EF362D22-68A3-0B45-BD4D-42C744729A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 b="0" i="0">
                <a:latin typeface="Sen ExtraBold" pitchFamily="2" charset="0"/>
              </a:defRPr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cxnSp>
        <p:nvCxnSpPr>
          <p:cNvPr id="14" name="Gerade Verbindung 8">
            <a:extLst>
              <a:ext uri="{FF2B5EF4-FFF2-40B4-BE49-F238E27FC236}">
                <a16:creationId xmlns:a16="http://schemas.microsoft.com/office/drawing/2014/main" id="{9C8FA1F3-6630-5342-81F4-83B1AD5EB363}"/>
              </a:ext>
            </a:extLst>
          </p:cNvPr>
          <p:cNvCxnSpPr>
            <a:cxnSpLocks/>
          </p:cNvCxnSpPr>
          <p:nvPr userDrawn="1"/>
        </p:nvCxnSpPr>
        <p:spPr>
          <a:xfrm>
            <a:off x="7964725" y="0"/>
            <a:ext cx="0" cy="6469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52A544B1-A075-40CE-3AB1-1EBAE30A49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40813102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7">
            <a:extLst>
              <a:ext uri="{FF2B5EF4-FFF2-40B4-BE49-F238E27FC236}">
                <a16:creationId xmlns:a16="http://schemas.microsoft.com/office/drawing/2014/main" id="{4F83A681-1EA2-0847-9663-CF5330137A5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0" y="1"/>
            <a:ext cx="12182826" cy="6857999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b="0" i="0">
                <a:latin typeface="Sen ExtraBold" pitchFamily="2" charset="0"/>
              </a:defRPr>
            </a:lvl1pPr>
          </a:lstStyle>
          <a:p>
            <a:pPr lvl="0"/>
            <a:r>
              <a:rPr lang="de-DE"/>
              <a:t> Hier kann eine Illustration platziert werden</a:t>
            </a:r>
          </a:p>
        </p:txBody>
      </p:sp>
      <p:sp>
        <p:nvSpPr>
          <p:cNvPr id="3" name="Titel 5">
            <a:extLst>
              <a:ext uri="{FF2B5EF4-FFF2-40B4-BE49-F238E27FC236}">
                <a16:creationId xmlns:a16="http://schemas.microsoft.com/office/drawing/2014/main" id="{7A1C5BCE-13D3-49FD-B930-B4A9F09D83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5409" y="2967335"/>
            <a:ext cx="538002" cy="923330"/>
          </a:xfrm>
          <a:prstGeom prst="rect">
            <a:avLst/>
          </a:prstGeom>
          <a:solidFill>
            <a:schemeClr val="accent1"/>
          </a:solidFill>
        </p:spPr>
        <p:txBody>
          <a:bodyPr wrap="none" lIns="72000" rIns="72000">
            <a:spAutoFit/>
          </a:bodyPr>
          <a:lstStyle>
            <a:lvl1pPr algn="ctr">
              <a:defRPr sz="5998">
                <a:solidFill>
                  <a:schemeClr val="bg1"/>
                </a:solidFill>
                <a:latin typeface="Bandeins Strange Bold Extd Half" panose="00000500000000000000" pitchFamily="50" charset="0"/>
              </a:defRPr>
            </a:lvl1pPr>
          </a:lstStyle>
          <a:p>
            <a:r>
              <a:rPr lang="de-DE"/>
              <a:t>x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81347CF-B3D2-42CD-99AF-78540E596F70}"/>
              </a:ext>
            </a:extLst>
          </p:cNvPr>
          <p:cNvSpPr txBox="1"/>
          <p:nvPr userDrawn="1"/>
        </p:nvSpPr>
        <p:spPr>
          <a:xfrm>
            <a:off x="11115078" y="5536208"/>
            <a:ext cx="766563" cy="923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5998" b="1" i="0">
                <a:latin typeface="Bandeins Strange" pitchFamily="2" charset="0"/>
              </a:rPr>
              <a:t>→</a:t>
            </a:r>
            <a:endParaRPr lang="de-DE" sz="5998" b="0" i="0">
              <a:latin typeface="Sen ExtraBold" pitchFamily="2" charset="0"/>
            </a:endParaRP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BC30E195-1886-4A76-A0A9-84BF06AD16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8686" y="212038"/>
            <a:ext cx="5291452" cy="345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999"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Kapitelnummer xx</a:t>
            </a:r>
          </a:p>
        </p:txBody>
      </p:sp>
    </p:spTree>
    <p:extLst>
      <p:ext uri="{BB962C8B-B14F-4D97-AF65-F5344CB8AC3E}">
        <p14:creationId xmlns:p14="http://schemas.microsoft.com/office/powerpoint/2010/main" val="39833983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9BDC94DA-96EF-4879-9E97-34327D1E7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118" y="694945"/>
            <a:ext cx="5274177" cy="5424867"/>
          </a:xfrm>
          <a:prstGeom prst="rect">
            <a:avLst/>
          </a:prstGeom>
        </p:spPr>
        <p:txBody>
          <a:bodyPr anchor="ctr" anchorCtr="0"/>
          <a:lstStyle>
            <a:lvl1pPr algn="ctr">
              <a:defRPr sz="5998"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Chapter</a:t>
            </a:r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2F9BF9EC-6DAE-4305-9906-13DFBE688E2A}"/>
              </a:ext>
            </a:extLst>
          </p:cNvPr>
          <p:cNvCxnSpPr>
            <a:cxnSpLocks/>
          </p:cNvCxnSpPr>
          <p:nvPr userDrawn="1"/>
        </p:nvCxnSpPr>
        <p:spPr>
          <a:xfrm>
            <a:off x="6094413" y="0"/>
            <a:ext cx="0" cy="685799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76D434A-C59D-495D-B6ED-EECFE6DD14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1479" y="202359"/>
            <a:ext cx="5291452" cy="345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999"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Kapitelnummer xx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7CF3C29-58E0-7B49-A0D1-1AB057787EE2}"/>
              </a:ext>
            </a:extLst>
          </p:cNvPr>
          <p:cNvSpPr txBox="1"/>
          <p:nvPr userDrawn="1"/>
        </p:nvSpPr>
        <p:spPr>
          <a:xfrm>
            <a:off x="11115078" y="5536208"/>
            <a:ext cx="766563" cy="923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5998" b="1" i="0">
                <a:latin typeface="Bandeins Strange" pitchFamily="2" charset="0"/>
              </a:rPr>
              <a:t>→</a:t>
            </a:r>
            <a:endParaRPr lang="de-DE" sz="5998" b="0" i="0">
              <a:latin typeface="Sen ExtraBold" pitchFamily="2" charset="0"/>
            </a:endParaRP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E05A50E5-BDA9-2D40-9066-1BA8F86EBE9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07609" y="7566"/>
            <a:ext cx="6081216" cy="68504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Sen ExtraBold" pitchFamily="2" charset="0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13129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Al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6">
            <a:extLst>
              <a:ext uri="{FF2B5EF4-FFF2-40B4-BE49-F238E27FC236}">
                <a16:creationId xmlns:a16="http://schemas.microsoft.com/office/drawing/2014/main" id="{2AC61314-1D17-4530-B95B-C89FBF9F1D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12" y="3046405"/>
            <a:ext cx="6094413" cy="723275"/>
          </a:xfrm>
          <a:prstGeom prst="rect">
            <a:avLst/>
          </a:prstGeom>
        </p:spPr>
        <p:txBody>
          <a:bodyPr anchor="ctr"/>
          <a:lstStyle>
            <a:lvl1pPr algn="ctr">
              <a:defRPr sz="4399" b="1" cap="all" baseline="0">
                <a:effectLst>
                  <a:outerShdw blurRad="635000" algn="tl">
                    <a:srgbClr val="000000">
                      <a:alpha val="50000"/>
                    </a:srgbClr>
                  </a:outerShdw>
                </a:effectLst>
                <a:latin typeface="Bandeins Strange Bold Extd Half" panose="00000500000000000000" pitchFamily="50" charset="0"/>
              </a:defRPr>
            </a:lvl1pPr>
            <a:lvl2pPr marL="0" indent="0">
              <a:buNone/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3pPr>
            <a:lvl4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89EE909E-1F40-4794-A7E7-59DD326BC7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62477" y="2981871"/>
            <a:ext cx="863871" cy="85234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635000" algn="tl" rotWithShape="0">
              <a:prstClr val="black">
                <a:alpha val="50000"/>
              </a:prstClr>
            </a:outerShdw>
          </a:effectLst>
        </p:spPr>
        <p:txBody>
          <a:bodyPr/>
          <a:lstStyle>
            <a:lvl1pPr>
              <a:defRPr sz="100" b="0" i="0">
                <a:noFill/>
                <a:latin typeface="Sen ExtraBold" pitchFamily="2" charset="0"/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7" name="Textplatzhalter 26">
            <a:extLst>
              <a:ext uri="{FF2B5EF4-FFF2-40B4-BE49-F238E27FC236}">
                <a16:creationId xmlns:a16="http://schemas.microsoft.com/office/drawing/2014/main" id="{AB545C8E-8DBC-4296-B80D-88E0CC876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2649" y="3046405"/>
            <a:ext cx="6094413" cy="723275"/>
          </a:xfrm>
          <a:prstGeom prst="rect">
            <a:avLst/>
          </a:prstGeom>
        </p:spPr>
        <p:txBody>
          <a:bodyPr anchor="ctr"/>
          <a:lstStyle>
            <a:lvl1pPr algn="ctr">
              <a:defRPr sz="4399" b="1" cap="all" baseline="0">
                <a:effectLst>
                  <a:outerShdw blurRad="635000" algn="tl">
                    <a:srgbClr val="000000">
                      <a:alpha val="50000"/>
                    </a:srgbClr>
                  </a:outerShdw>
                </a:effectLst>
                <a:latin typeface="Bandeins Strange Bold Extd Half" panose="00000500000000000000" pitchFamily="50" charset="0"/>
              </a:defRPr>
            </a:lvl1pPr>
            <a:lvl2pPr marL="0" indent="0">
              <a:buNone/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3pPr>
            <a:lvl4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3" name="Bildplatzhalter 6">
            <a:extLst>
              <a:ext uri="{FF2B5EF4-FFF2-40B4-BE49-F238E27FC236}">
                <a16:creationId xmlns:a16="http://schemas.microsoft.com/office/drawing/2014/main" id="{B17F689D-5A48-46D3-92A1-654983BBF9A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4412" y="0"/>
            <a:ext cx="6094413" cy="6858000"/>
          </a:xfrm>
          <a:prstGeom prst="rect">
            <a:avLst/>
          </a:prstGeom>
        </p:spPr>
        <p:txBody>
          <a:bodyPr anchor="ctr" anchorCtr="0"/>
          <a:lstStyle>
            <a:lvl1pPr>
              <a:defRPr sz="1799" b="0" i="0">
                <a:latin typeface="Sen ExtraBold" pitchFamily="2" charset="0"/>
              </a:defRPr>
            </a:lvl1pPr>
          </a:lstStyle>
          <a:p>
            <a:r>
              <a:rPr lang="de-DE"/>
              <a:t>Bild über Klick auf Icon hinzufügen und anschließend über Rechtsklick in den Hintergrund setzen </a:t>
            </a:r>
          </a:p>
        </p:txBody>
      </p:sp>
      <p:sp>
        <p:nvSpPr>
          <p:cNvPr id="4" name="Bildplatzhalter 6">
            <a:extLst>
              <a:ext uri="{FF2B5EF4-FFF2-40B4-BE49-F238E27FC236}">
                <a16:creationId xmlns:a16="http://schemas.microsoft.com/office/drawing/2014/main" id="{932091A3-71E3-4CCA-8625-C1582E5552E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4412" cy="6858000"/>
          </a:xfrm>
          <a:prstGeom prst="rect">
            <a:avLst/>
          </a:prstGeom>
        </p:spPr>
        <p:txBody>
          <a:bodyPr anchor="ctr" anchorCtr="0"/>
          <a:lstStyle>
            <a:lvl1pPr>
              <a:defRPr sz="1799" b="0" i="0">
                <a:latin typeface="Sen ExtraBold" pitchFamily="2" charset="0"/>
              </a:defRPr>
            </a:lvl1pPr>
          </a:lstStyle>
          <a:p>
            <a:r>
              <a:rPr lang="de-DE"/>
              <a:t>Bild über Klick auf Icon hinzufügen und anschließend über Rechtsklick in den Hintergrund setzen  </a:t>
            </a:r>
          </a:p>
        </p:txBody>
      </p:sp>
    </p:spTree>
    <p:extLst>
      <p:ext uri="{BB962C8B-B14F-4D97-AF65-F5344CB8AC3E}">
        <p14:creationId xmlns:p14="http://schemas.microsoft.com/office/powerpoint/2010/main" val="29286714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ider Alt 3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6">
            <a:extLst>
              <a:ext uri="{FF2B5EF4-FFF2-40B4-BE49-F238E27FC236}">
                <a16:creationId xmlns:a16="http://schemas.microsoft.com/office/drawing/2014/main" id="{2AC61314-1D17-4530-B95B-C89FBF9F1D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12" y="3046405"/>
            <a:ext cx="6094413" cy="723275"/>
          </a:xfrm>
          <a:prstGeom prst="rect">
            <a:avLst/>
          </a:prstGeom>
        </p:spPr>
        <p:txBody>
          <a:bodyPr anchor="ctr"/>
          <a:lstStyle>
            <a:lvl1pPr algn="ctr">
              <a:defRPr sz="4399" b="1" cap="all" baseline="0">
                <a:solidFill>
                  <a:schemeClr val="bg1"/>
                </a:solidFill>
                <a:effectLst>
                  <a:outerShdw blurRad="635000" algn="tl">
                    <a:srgbClr val="000000">
                      <a:alpha val="50000"/>
                    </a:srgbClr>
                  </a:outerShdw>
                </a:effectLst>
                <a:latin typeface="Bandeins Strange Bold Extd Half" panose="00000500000000000000" pitchFamily="50" charset="0"/>
              </a:defRPr>
            </a:lvl1pPr>
            <a:lvl2pPr marL="0" indent="0">
              <a:buNone/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3pPr>
            <a:lvl4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7" name="Textplatzhalter 26">
            <a:extLst>
              <a:ext uri="{FF2B5EF4-FFF2-40B4-BE49-F238E27FC236}">
                <a16:creationId xmlns:a16="http://schemas.microsoft.com/office/drawing/2014/main" id="{AB545C8E-8DBC-4296-B80D-88E0CC876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2649" y="3046405"/>
            <a:ext cx="6094413" cy="723275"/>
          </a:xfrm>
          <a:prstGeom prst="rect">
            <a:avLst/>
          </a:prstGeom>
        </p:spPr>
        <p:txBody>
          <a:bodyPr anchor="ctr"/>
          <a:lstStyle>
            <a:lvl1pPr algn="ctr">
              <a:defRPr sz="4399" b="1" cap="all" baseline="0">
                <a:solidFill>
                  <a:schemeClr val="bg1"/>
                </a:solidFill>
                <a:effectLst>
                  <a:outerShdw blurRad="635000" algn="tl">
                    <a:srgbClr val="000000">
                      <a:alpha val="50000"/>
                    </a:srgbClr>
                  </a:outerShdw>
                </a:effectLst>
                <a:latin typeface="Bandeins Strange Bold Extd Half" panose="00000500000000000000" pitchFamily="50" charset="0"/>
              </a:defRPr>
            </a:lvl1pPr>
            <a:lvl2pPr marL="0" indent="0">
              <a:buNone/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3pPr>
            <a:lvl4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E98A9C7F-C131-D647-AB33-10FB5C0AF15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4412" y="0"/>
            <a:ext cx="6094413" cy="6858000"/>
          </a:xfrm>
          <a:prstGeom prst="rect">
            <a:avLst/>
          </a:prstGeom>
        </p:spPr>
        <p:txBody>
          <a:bodyPr anchor="ctr" anchorCtr="0"/>
          <a:lstStyle>
            <a:lvl1pPr>
              <a:defRPr sz="1799" b="0" i="0">
                <a:latin typeface="Sen ExtraBold" pitchFamily="2" charset="0"/>
              </a:defRPr>
            </a:lvl1pPr>
          </a:lstStyle>
          <a:p>
            <a:r>
              <a:rPr lang="de-DE"/>
              <a:t>Bild über Klick auf Icon hinzufügen und anschließend über Rechtsklick in den Hintergrund setzen 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BA406AC2-C19F-7E44-8C27-17503BB426C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4412" cy="6858000"/>
          </a:xfrm>
          <a:prstGeom prst="rect">
            <a:avLst/>
          </a:prstGeom>
        </p:spPr>
        <p:txBody>
          <a:bodyPr anchor="ctr" anchorCtr="0"/>
          <a:lstStyle>
            <a:lvl1pPr>
              <a:defRPr sz="1799" b="0" i="0">
                <a:latin typeface="Sen ExtraBold" pitchFamily="2" charset="0"/>
              </a:defRPr>
            </a:lvl1pPr>
          </a:lstStyle>
          <a:p>
            <a:r>
              <a:rPr lang="de-DE"/>
              <a:t>Bild über Klick auf Icon hinzufügen und anschließend über Rechtsklick in den Hintergrund setzen  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1BFB657-E8F4-A541-9B77-751926F110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59829" y="2981871"/>
            <a:ext cx="863871" cy="85234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  <a:effectLst>
            <a:outerShdw blurRad="635000" algn="tl" rotWithShape="0">
              <a:prstClr val="black">
                <a:alpha val="50000"/>
              </a:prstClr>
            </a:outerShdw>
          </a:effectLst>
        </p:spPr>
        <p:txBody>
          <a:bodyPr/>
          <a:lstStyle>
            <a:lvl1pPr>
              <a:defRPr sz="100" b="0" i="0">
                <a:noFill/>
                <a:latin typeface="Sen ExtraBold" pitchFamily="2" charset="0"/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377128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le, Subtitel2, 2 Text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4CE12783-1062-42DC-B3A0-6BF2120907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 b="0" i="0">
                <a:latin typeface="Sen ExtraBold" pitchFamily="2" charset="0"/>
              </a:defRPr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7B0DC512-2D28-408B-885E-6CF6537AAF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888" y="2223366"/>
            <a:ext cx="5429276" cy="396896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  <a:lvl2pPr>
              <a:defRPr b="0" i="0">
                <a:latin typeface="Sen ExtraBold" pitchFamily="2" charset="0"/>
              </a:defRPr>
            </a:lvl2pPr>
            <a:lvl3pPr>
              <a:defRPr b="0" i="0">
                <a:latin typeface="Sen ExtraBold" pitchFamily="2" charset="0"/>
              </a:defRPr>
            </a:lvl3pPr>
            <a:lvl4pPr>
              <a:defRPr b="0" i="0">
                <a:latin typeface="Sen ExtraBold" pitchFamily="2" charset="0"/>
              </a:defRPr>
            </a:lvl4pPr>
            <a:lvl5pPr>
              <a:defRPr b="0" i="0">
                <a:latin typeface="Sen ExtraBol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45D09A3-9C11-47EF-BEBD-8E77DCCD3E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01" y="1763713"/>
            <a:ext cx="5429276" cy="312737"/>
          </a:xfrm>
          <a:prstGeom prst="rect">
            <a:avLst/>
          </a:prstGeom>
        </p:spPr>
        <p:txBody>
          <a:bodyPr anchor="t" anchorCtr="0"/>
          <a:lstStyle>
            <a:lvl1pPr>
              <a:defRPr sz="1799" b="1" i="0" cap="all" baseline="0">
                <a:latin typeface="Bandeins Strange" pitchFamily="2" charset="0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BA4BEE4C-13B5-44BF-BA15-DC66B5FEEE7B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0070" y="2231813"/>
            <a:ext cx="5429276" cy="396896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  <a:lvl2pPr>
              <a:defRPr b="0" i="0">
                <a:latin typeface="Sen ExtraBold" pitchFamily="2" charset="0"/>
              </a:defRPr>
            </a:lvl2pPr>
            <a:lvl3pPr>
              <a:defRPr b="0" i="0">
                <a:latin typeface="Sen ExtraBold" pitchFamily="2" charset="0"/>
              </a:defRPr>
            </a:lvl3pPr>
            <a:lvl4pPr>
              <a:defRPr b="0" i="0">
                <a:latin typeface="Sen ExtraBold" pitchFamily="2" charset="0"/>
              </a:defRPr>
            </a:lvl4pPr>
            <a:lvl5pPr>
              <a:defRPr b="0" i="0">
                <a:latin typeface="Sen ExtraBol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A5FBA67F-DCCF-4ACE-8C80-7BF71F0B54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0070" y="1764001"/>
            <a:ext cx="5429276" cy="312737"/>
          </a:xfrm>
          <a:prstGeom prst="rect">
            <a:avLst/>
          </a:prstGeom>
        </p:spPr>
        <p:txBody>
          <a:bodyPr anchor="t" anchorCtr="0"/>
          <a:lstStyle>
            <a:lvl1pPr>
              <a:defRPr sz="1799" b="1" i="0" cap="all" baseline="0">
                <a:latin typeface="Bandeins Strange" pitchFamily="2" charset="0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B0FBC8E6-AD0D-A64F-B262-AFDA56FD47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6971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7190CF2-0EBF-C04A-8CEE-39F68053712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9209B4D6-8689-AF48-B292-3F81EB44E4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13" name="Gerader Verbinder 16">
            <a:extLst>
              <a:ext uri="{FF2B5EF4-FFF2-40B4-BE49-F238E27FC236}">
                <a16:creationId xmlns:a16="http://schemas.microsoft.com/office/drawing/2014/main" id="{BE84DCBC-5239-2E42-AC85-139FA83B164E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2">
            <a:extLst>
              <a:ext uri="{FF2B5EF4-FFF2-40B4-BE49-F238E27FC236}">
                <a16:creationId xmlns:a16="http://schemas.microsoft.com/office/drawing/2014/main" id="{89F2B067-D868-864B-AD87-00B6A81BC389}"/>
              </a:ext>
            </a:extLst>
          </p:cNvPr>
          <p:cNvSpPr/>
          <p:nvPr userDrawn="1"/>
        </p:nvSpPr>
        <p:spPr>
          <a:xfrm>
            <a:off x="11838683" y="6577201"/>
            <a:ext cx="21955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0" i="0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 b="0" i="0">
              <a:latin typeface="Sen ExtraBold" pitchFamily="2" charset="0"/>
            </a:endParaRP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79F52EC4-9CEC-45EA-4276-617F468B75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8664028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le, Subtitel2, 3 Text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9E42306F-5FFF-4908-969E-44480FED22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 b="0" i="0">
                <a:latin typeface="Sen ExtraBold" pitchFamily="2" charset="0"/>
              </a:defRPr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C72234AC-02C3-4F02-8230-6B1A98F3094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80888" y="2223401"/>
            <a:ext cx="3502942" cy="3977374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  <a:lvl2pPr>
              <a:defRPr b="0" i="0">
                <a:latin typeface="Sen ExtraBold" pitchFamily="2" charset="0"/>
              </a:defRPr>
            </a:lvl2pPr>
            <a:lvl3pPr>
              <a:defRPr b="0" i="0">
                <a:latin typeface="Sen ExtraBold" pitchFamily="2" charset="0"/>
              </a:defRPr>
            </a:lvl3pPr>
            <a:lvl4pPr>
              <a:defRPr b="0" i="0">
                <a:latin typeface="Sen ExtraBold" pitchFamily="2" charset="0"/>
              </a:defRPr>
            </a:lvl4pPr>
            <a:lvl5pPr>
              <a:defRPr b="0" i="0">
                <a:latin typeface="Sen ExtraBol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757ADAF6-8690-4DE3-A912-6AF11AFD62F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06583" y="2223401"/>
            <a:ext cx="3502942" cy="3977374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  <a:lvl2pPr>
              <a:defRPr b="0" i="0">
                <a:latin typeface="Sen ExtraBold" pitchFamily="2" charset="0"/>
              </a:defRPr>
            </a:lvl2pPr>
            <a:lvl3pPr>
              <a:defRPr b="0" i="0">
                <a:latin typeface="Sen ExtraBold" pitchFamily="2" charset="0"/>
              </a:defRPr>
            </a:lvl3pPr>
            <a:lvl4pPr>
              <a:defRPr b="0" i="0">
                <a:latin typeface="Sen ExtraBold" pitchFamily="2" charset="0"/>
              </a:defRPr>
            </a:lvl4pPr>
            <a:lvl5pPr>
              <a:defRPr b="0" i="0">
                <a:latin typeface="Sen ExtraBol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53AA52BB-CB4F-4E26-8337-6FD8D8C8D1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43735" y="2223401"/>
            <a:ext cx="3502942" cy="3977374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  <a:lvl2pPr>
              <a:defRPr b="0" i="0">
                <a:latin typeface="Sen ExtraBold" pitchFamily="2" charset="0"/>
              </a:defRPr>
            </a:lvl2pPr>
            <a:lvl3pPr>
              <a:defRPr b="0" i="0">
                <a:latin typeface="Sen ExtraBold" pitchFamily="2" charset="0"/>
              </a:defRPr>
            </a:lvl3pPr>
            <a:lvl4pPr>
              <a:defRPr b="0" i="0">
                <a:latin typeface="Sen ExtraBold" pitchFamily="2" charset="0"/>
              </a:defRPr>
            </a:lvl4pPr>
            <a:lvl5pPr>
              <a:defRPr b="0" i="0">
                <a:latin typeface="Sen ExtraBol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05DFF6A4-DBFB-49E1-AD31-1179F5F620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303" y="1763713"/>
            <a:ext cx="3504528" cy="312737"/>
          </a:xfrm>
          <a:prstGeom prst="rect">
            <a:avLst/>
          </a:prstGeom>
        </p:spPr>
        <p:txBody>
          <a:bodyPr anchor="t" anchorCtr="0"/>
          <a:lstStyle>
            <a:lvl1pPr>
              <a:defRPr sz="1799" b="1" i="0" cap="all" baseline="0">
                <a:latin typeface="Bandeins Strange" pitchFamily="2" charset="0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BB6EDACB-9F31-48A3-A128-2277796B3D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3735" y="1764001"/>
            <a:ext cx="3502942" cy="312737"/>
          </a:xfrm>
          <a:prstGeom prst="rect">
            <a:avLst/>
          </a:prstGeom>
        </p:spPr>
        <p:txBody>
          <a:bodyPr anchor="t" anchorCtr="0"/>
          <a:lstStyle>
            <a:lvl1pPr>
              <a:defRPr sz="1799" b="1" i="0" cap="all" baseline="0">
                <a:latin typeface="Bandeins Strange" pitchFamily="2" charset="0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16583AC3-39D1-4AAC-95CA-872DEC425E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6583" y="1764001"/>
            <a:ext cx="3502942" cy="312737"/>
          </a:xfrm>
          <a:prstGeom prst="rect">
            <a:avLst/>
          </a:prstGeom>
        </p:spPr>
        <p:txBody>
          <a:bodyPr anchor="t" anchorCtr="0"/>
          <a:lstStyle>
            <a:lvl1pPr>
              <a:defRPr sz="1799" b="1" i="0" cap="all" baseline="0">
                <a:latin typeface="Bandeins Strange" pitchFamily="2" charset="0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6D3F957D-5835-2E4D-B51A-55F94D43F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8637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FCC709-5F1F-6341-93B5-B5B02EFC850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29EE8512-0353-A74E-A3E9-ED27BB6A5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23" name="Gerader Verbinder 16">
            <a:extLst>
              <a:ext uri="{FF2B5EF4-FFF2-40B4-BE49-F238E27FC236}">
                <a16:creationId xmlns:a16="http://schemas.microsoft.com/office/drawing/2014/main" id="{514D7062-9DD5-2D47-872F-35713791AD09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12">
            <a:extLst>
              <a:ext uri="{FF2B5EF4-FFF2-40B4-BE49-F238E27FC236}">
                <a16:creationId xmlns:a16="http://schemas.microsoft.com/office/drawing/2014/main" id="{B90641F5-4EAF-314B-AA21-C9494A5C5776}"/>
              </a:ext>
            </a:extLst>
          </p:cNvPr>
          <p:cNvSpPr/>
          <p:nvPr userDrawn="1"/>
        </p:nvSpPr>
        <p:spPr>
          <a:xfrm>
            <a:off x="11838683" y="6577201"/>
            <a:ext cx="21955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0" i="0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 b="0" i="0">
              <a:latin typeface="Sen ExtraBold" pitchFamily="2" charset="0"/>
            </a:endParaRP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4FF51341-00CA-432E-F609-A69CC33797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21664250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Divider_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9BDC94DA-96EF-4879-9E97-34327D1E7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118" y="694945"/>
            <a:ext cx="5274177" cy="5424867"/>
          </a:xfrm>
          <a:prstGeom prst="rect">
            <a:avLst/>
          </a:prstGeom>
        </p:spPr>
        <p:txBody>
          <a:bodyPr anchor="ctr" anchorCtr="0"/>
          <a:lstStyle>
            <a:lvl1pPr algn="ctr">
              <a:defRPr sz="5998"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Chapter</a:t>
            </a:r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2F9BF9EC-6DAE-4305-9906-13DFBE688E2A}"/>
              </a:ext>
            </a:extLst>
          </p:cNvPr>
          <p:cNvCxnSpPr>
            <a:cxnSpLocks/>
          </p:cNvCxnSpPr>
          <p:nvPr userDrawn="1"/>
        </p:nvCxnSpPr>
        <p:spPr>
          <a:xfrm>
            <a:off x="6094413" y="0"/>
            <a:ext cx="0" cy="685799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76D434A-C59D-495D-B6ED-EECFE6DD14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1479" y="202359"/>
            <a:ext cx="5291452" cy="345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Kapitelnummer xx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7CF3C29-58E0-7B49-A0D1-1AB057787EE2}"/>
              </a:ext>
            </a:extLst>
          </p:cNvPr>
          <p:cNvSpPr txBox="1"/>
          <p:nvPr userDrawn="1"/>
        </p:nvSpPr>
        <p:spPr>
          <a:xfrm>
            <a:off x="11115078" y="5536208"/>
            <a:ext cx="766563" cy="923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5998" b="1" i="0">
                <a:latin typeface="Bandeins Strange" pitchFamily="2" charset="0"/>
              </a:rPr>
              <a:t>→</a:t>
            </a:r>
            <a:endParaRPr lang="de-DE" sz="5998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E05A50E5-BDA9-2D40-9066-1BA8F86EBE9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07609" y="7566"/>
            <a:ext cx="6081216" cy="68504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18550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ntent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9E42306F-5FFF-4908-969E-44480FED22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 b="0" i="0">
                <a:latin typeface="Sen ExtraBold" pitchFamily="2" charset="0"/>
              </a:defRPr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E1BFF2C-346A-46B5-8604-759A9D0C4D91}"/>
              </a:ext>
            </a:extLst>
          </p:cNvPr>
          <p:cNvGrpSpPr/>
          <p:nvPr/>
        </p:nvGrpSpPr>
        <p:grpSpPr>
          <a:xfrm>
            <a:off x="508962" y="1790907"/>
            <a:ext cx="3239156" cy="4127348"/>
            <a:chOff x="515357" y="1809696"/>
            <a:chExt cx="3240000" cy="4127348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6D62668B-BFF5-466B-8AC7-A5A50E01E9C5}"/>
                </a:ext>
              </a:extLst>
            </p:cNvPr>
            <p:cNvGrpSpPr/>
            <p:nvPr/>
          </p:nvGrpSpPr>
          <p:grpSpPr>
            <a:xfrm>
              <a:off x="3406509" y="1984682"/>
              <a:ext cx="180000" cy="180000"/>
              <a:chOff x="3886200" y="1323458"/>
              <a:chExt cx="176972" cy="176972"/>
            </a:xfrm>
          </p:grpSpPr>
          <p:cxnSp>
            <p:nvCxnSpPr>
              <p:cNvPr id="18" name="Gerade Verbindung 8">
                <a:extLst>
                  <a:ext uri="{FF2B5EF4-FFF2-40B4-BE49-F238E27FC236}">
                    <a16:creationId xmlns:a16="http://schemas.microsoft.com/office/drawing/2014/main" id="{B718DE2A-69E2-418C-906A-DFBD41F803CD}"/>
                  </a:ext>
                </a:extLst>
              </p:cNvPr>
              <p:cNvCxnSpPr/>
              <p:nvPr/>
            </p:nvCxnSpPr>
            <p:spPr>
              <a:xfrm>
                <a:off x="3886200" y="1323458"/>
                <a:ext cx="176972" cy="176972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0">
                <a:extLst>
                  <a:ext uri="{FF2B5EF4-FFF2-40B4-BE49-F238E27FC236}">
                    <a16:creationId xmlns:a16="http://schemas.microsoft.com/office/drawing/2014/main" id="{5905856F-5D8F-4896-9108-BA52639016C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886200" y="1323458"/>
                <a:ext cx="176972" cy="176972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41A421A1-C309-4481-B9F0-5E3B505A4B9D}"/>
                </a:ext>
              </a:extLst>
            </p:cNvPr>
            <p:cNvGrpSpPr/>
            <p:nvPr/>
          </p:nvGrpSpPr>
          <p:grpSpPr>
            <a:xfrm>
              <a:off x="515357" y="1809696"/>
              <a:ext cx="3240000" cy="4127348"/>
              <a:chOff x="515357" y="2043027"/>
              <a:chExt cx="3060000" cy="3668486"/>
            </a:xfrm>
          </p:grpSpPr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A8DE9085-2758-4A14-9194-3CAB00981148}"/>
                  </a:ext>
                </a:extLst>
              </p:cNvPr>
              <p:cNvSpPr/>
              <p:nvPr/>
            </p:nvSpPr>
            <p:spPr>
              <a:xfrm>
                <a:off x="515357" y="2043027"/>
                <a:ext cx="3060000" cy="3668486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n ExtraBold" pitchFamily="2" charset="0"/>
                  <a:ea typeface="+mn-ea"/>
                  <a:cs typeface="+mn-cs"/>
                </a:endParaRPr>
              </a:p>
            </p:txBody>
          </p:sp>
          <p:cxnSp>
            <p:nvCxnSpPr>
              <p:cNvPr id="16" name="Gerade Verbindung 6">
                <a:extLst>
                  <a:ext uri="{FF2B5EF4-FFF2-40B4-BE49-F238E27FC236}">
                    <a16:creationId xmlns:a16="http://schemas.microsoft.com/office/drawing/2014/main" id="{51B7C891-FBAA-45AC-A4AF-B79E0B9D93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5357" y="2510134"/>
                <a:ext cx="306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A89CA16-BF9E-418A-9D34-E8BCB8CD73FC}"/>
              </a:ext>
            </a:extLst>
          </p:cNvPr>
          <p:cNvGrpSpPr/>
          <p:nvPr/>
        </p:nvGrpSpPr>
        <p:grpSpPr>
          <a:xfrm>
            <a:off x="8453230" y="1790907"/>
            <a:ext cx="3239156" cy="4127348"/>
            <a:chOff x="515357" y="1809696"/>
            <a:chExt cx="3240000" cy="4127348"/>
          </a:xfrm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F278B3A0-674D-47AC-B9BD-2287789ACBC9}"/>
                </a:ext>
              </a:extLst>
            </p:cNvPr>
            <p:cNvGrpSpPr/>
            <p:nvPr/>
          </p:nvGrpSpPr>
          <p:grpSpPr>
            <a:xfrm>
              <a:off x="3406509" y="1984682"/>
              <a:ext cx="180000" cy="180000"/>
              <a:chOff x="3886200" y="1323458"/>
              <a:chExt cx="176972" cy="176972"/>
            </a:xfrm>
          </p:grpSpPr>
          <p:cxnSp>
            <p:nvCxnSpPr>
              <p:cNvPr id="25" name="Gerade Verbindung 8">
                <a:extLst>
                  <a:ext uri="{FF2B5EF4-FFF2-40B4-BE49-F238E27FC236}">
                    <a16:creationId xmlns:a16="http://schemas.microsoft.com/office/drawing/2014/main" id="{92F54599-60EF-42CD-910E-30B1A4E985AF}"/>
                  </a:ext>
                </a:extLst>
              </p:cNvPr>
              <p:cNvCxnSpPr/>
              <p:nvPr/>
            </p:nvCxnSpPr>
            <p:spPr>
              <a:xfrm>
                <a:off x="3886200" y="1323458"/>
                <a:ext cx="176972" cy="176972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10">
                <a:extLst>
                  <a:ext uri="{FF2B5EF4-FFF2-40B4-BE49-F238E27FC236}">
                    <a16:creationId xmlns:a16="http://schemas.microsoft.com/office/drawing/2014/main" id="{DC79002A-C234-433F-83E0-5131E11E079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886200" y="1323458"/>
                <a:ext cx="176972" cy="176972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AF001CE6-59D0-4AF3-9A1E-993E6E859B30}"/>
                </a:ext>
              </a:extLst>
            </p:cNvPr>
            <p:cNvGrpSpPr/>
            <p:nvPr/>
          </p:nvGrpSpPr>
          <p:grpSpPr>
            <a:xfrm>
              <a:off x="515357" y="1809696"/>
              <a:ext cx="3240000" cy="4127348"/>
              <a:chOff x="515357" y="2043027"/>
              <a:chExt cx="3060000" cy="3668486"/>
            </a:xfrm>
          </p:grpSpPr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5443783B-7C21-43C2-B21C-E7465C0D8E99}"/>
                  </a:ext>
                </a:extLst>
              </p:cNvPr>
              <p:cNvSpPr/>
              <p:nvPr/>
            </p:nvSpPr>
            <p:spPr>
              <a:xfrm>
                <a:off x="515357" y="2043027"/>
                <a:ext cx="3060000" cy="3668486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n ExtraBold" pitchFamily="2" charset="0"/>
                  <a:ea typeface="+mn-ea"/>
                  <a:cs typeface="+mn-cs"/>
                </a:endParaRPr>
              </a:p>
            </p:txBody>
          </p:sp>
          <p:cxnSp>
            <p:nvCxnSpPr>
              <p:cNvPr id="24" name="Gerade Verbindung 6">
                <a:extLst>
                  <a:ext uri="{FF2B5EF4-FFF2-40B4-BE49-F238E27FC236}">
                    <a16:creationId xmlns:a16="http://schemas.microsoft.com/office/drawing/2014/main" id="{A58B306C-58FB-451B-96BC-06859D6A83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5357" y="2510134"/>
                <a:ext cx="306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81E5A88-02BB-4B76-AE65-CB3395331616}"/>
              </a:ext>
            </a:extLst>
          </p:cNvPr>
          <p:cNvGrpSpPr/>
          <p:nvPr/>
        </p:nvGrpSpPr>
        <p:grpSpPr>
          <a:xfrm>
            <a:off x="4474835" y="1790907"/>
            <a:ext cx="3239156" cy="4127348"/>
            <a:chOff x="515357" y="1809696"/>
            <a:chExt cx="3240000" cy="4127348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79698E20-F461-4205-80D6-F8FFB24CB5B9}"/>
                </a:ext>
              </a:extLst>
            </p:cNvPr>
            <p:cNvGrpSpPr/>
            <p:nvPr/>
          </p:nvGrpSpPr>
          <p:grpSpPr>
            <a:xfrm>
              <a:off x="3406509" y="1984682"/>
              <a:ext cx="180000" cy="180000"/>
              <a:chOff x="3886200" y="1323458"/>
              <a:chExt cx="176972" cy="176972"/>
            </a:xfrm>
          </p:grpSpPr>
          <p:cxnSp>
            <p:nvCxnSpPr>
              <p:cNvPr id="32" name="Gerade Verbindung 8">
                <a:extLst>
                  <a:ext uri="{FF2B5EF4-FFF2-40B4-BE49-F238E27FC236}">
                    <a16:creationId xmlns:a16="http://schemas.microsoft.com/office/drawing/2014/main" id="{CC6AED97-6304-49BC-8AA7-B258062F1F76}"/>
                  </a:ext>
                </a:extLst>
              </p:cNvPr>
              <p:cNvCxnSpPr/>
              <p:nvPr/>
            </p:nvCxnSpPr>
            <p:spPr>
              <a:xfrm>
                <a:off x="3886200" y="1323458"/>
                <a:ext cx="176972" cy="176972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10">
                <a:extLst>
                  <a:ext uri="{FF2B5EF4-FFF2-40B4-BE49-F238E27FC236}">
                    <a16:creationId xmlns:a16="http://schemas.microsoft.com/office/drawing/2014/main" id="{E2E895A2-D3FB-4AB4-AA94-08B1C266D29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886200" y="1323458"/>
                <a:ext cx="176972" cy="176972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C832AEAC-070F-4BD1-867B-5C7D3ED9E168}"/>
                </a:ext>
              </a:extLst>
            </p:cNvPr>
            <p:cNvGrpSpPr/>
            <p:nvPr/>
          </p:nvGrpSpPr>
          <p:grpSpPr>
            <a:xfrm>
              <a:off x="515357" y="1809696"/>
              <a:ext cx="3240000" cy="4127348"/>
              <a:chOff x="515357" y="2043027"/>
              <a:chExt cx="3060000" cy="3668486"/>
            </a:xfrm>
          </p:grpSpPr>
          <p:sp>
            <p:nvSpPr>
              <p:cNvPr id="30" name="Rechteck 29">
                <a:extLst>
                  <a:ext uri="{FF2B5EF4-FFF2-40B4-BE49-F238E27FC236}">
                    <a16:creationId xmlns:a16="http://schemas.microsoft.com/office/drawing/2014/main" id="{D7355818-53D2-49FA-8682-A9E952D5BD5D}"/>
                  </a:ext>
                </a:extLst>
              </p:cNvPr>
              <p:cNvSpPr/>
              <p:nvPr/>
            </p:nvSpPr>
            <p:spPr>
              <a:xfrm>
                <a:off x="515357" y="2043027"/>
                <a:ext cx="3060000" cy="3668486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n ExtraBold" pitchFamily="2" charset="0"/>
                  <a:ea typeface="+mn-ea"/>
                  <a:cs typeface="+mn-cs"/>
                </a:endParaRPr>
              </a:p>
            </p:txBody>
          </p:sp>
          <p:cxnSp>
            <p:nvCxnSpPr>
              <p:cNvPr id="31" name="Gerade Verbindung 6">
                <a:extLst>
                  <a:ext uri="{FF2B5EF4-FFF2-40B4-BE49-F238E27FC236}">
                    <a16:creationId xmlns:a16="http://schemas.microsoft.com/office/drawing/2014/main" id="{1D37B0D6-43DD-4636-A825-39FE606121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5357" y="2510134"/>
                <a:ext cx="306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B896D9B2-357F-4B45-A641-37D44B6D69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950" y="4288099"/>
            <a:ext cx="3149180" cy="1630362"/>
          </a:xfrm>
          <a:prstGeom prst="rect">
            <a:avLst/>
          </a:prstGeom>
        </p:spPr>
        <p:txBody>
          <a:bodyPr lIns="144000" rIns="144000"/>
          <a:lstStyle>
            <a:lvl1pPr algn="ctr">
              <a:defRPr sz="1400" b="0" i="0">
                <a:latin typeface="Sen ExtraBold" pitchFamily="2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platzhalter 33">
            <a:extLst>
              <a:ext uri="{FF2B5EF4-FFF2-40B4-BE49-F238E27FC236}">
                <a16:creationId xmlns:a16="http://schemas.microsoft.com/office/drawing/2014/main" id="{E268B400-5BE4-46F7-A1F3-5CA337775E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19823" y="4288100"/>
            <a:ext cx="3149180" cy="1629673"/>
          </a:xfrm>
          <a:prstGeom prst="rect">
            <a:avLst/>
          </a:prstGeom>
        </p:spPr>
        <p:txBody>
          <a:bodyPr lIns="144000" rIns="144000"/>
          <a:lstStyle>
            <a:lvl1pPr algn="ctr">
              <a:defRPr sz="1400" b="0" i="0">
                <a:latin typeface="Sen ExtraBold" pitchFamily="2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platzhalter 33">
            <a:extLst>
              <a:ext uri="{FF2B5EF4-FFF2-40B4-BE49-F238E27FC236}">
                <a16:creationId xmlns:a16="http://schemas.microsoft.com/office/drawing/2014/main" id="{98078697-AEE4-40A0-91A2-0F3D1BB60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98218" y="4288099"/>
            <a:ext cx="3149180" cy="1630362"/>
          </a:xfrm>
          <a:prstGeom prst="rect">
            <a:avLst/>
          </a:prstGeom>
        </p:spPr>
        <p:txBody>
          <a:bodyPr lIns="144000" rIns="144000"/>
          <a:lstStyle>
            <a:lvl1pPr algn="ctr">
              <a:defRPr sz="1400" b="0" i="0">
                <a:latin typeface="Sen ExtraBold" pitchFamily="2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8C51F04D-3891-47E7-81A8-FEDD30EA486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52326" y="2486986"/>
            <a:ext cx="2153676" cy="1630363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</a:lstStyle>
          <a:p>
            <a:r>
              <a:rPr lang="en-GB"/>
              <a:t>Click icon to add picture</a:t>
            </a:r>
            <a:endParaRPr lang="de-DE"/>
          </a:p>
        </p:txBody>
      </p:sp>
      <p:sp>
        <p:nvSpPr>
          <p:cNvPr id="39" name="Bildplatzhalter 37">
            <a:extLst>
              <a:ext uri="{FF2B5EF4-FFF2-40B4-BE49-F238E27FC236}">
                <a16:creationId xmlns:a16="http://schemas.microsoft.com/office/drawing/2014/main" id="{0467871B-8F8F-4C5A-A1A8-C3C57E9F054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38955" y="2486986"/>
            <a:ext cx="2153676" cy="1630363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</a:lstStyle>
          <a:p>
            <a:r>
              <a:rPr lang="en-GB"/>
              <a:t>Click icon to add picture</a:t>
            </a:r>
            <a:endParaRPr lang="de-DE"/>
          </a:p>
        </p:txBody>
      </p:sp>
      <p:sp>
        <p:nvSpPr>
          <p:cNvPr id="40" name="Bildplatzhalter 37">
            <a:extLst>
              <a:ext uri="{FF2B5EF4-FFF2-40B4-BE49-F238E27FC236}">
                <a16:creationId xmlns:a16="http://schemas.microsoft.com/office/drawing/2014/main" id="{4148FBB0-2872-4732-B839-AAC72C9B023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74591" y="2486985"/>
            <a:ext cx="2153676" cy="1630363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</a:lstStyle>
          <a:p>
            <a:r>
              <a:rPr lang="en-GB"/>
              <a:t>Click icon to add picture</a:t>
            </a:r>
            <a:endParaRPr lang="de-DE"/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6731DFBA-76B9-6E4F-9519-BBA9C43ED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8637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082E9F09-1259-DC45-A8BB-97549E3DB53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45" name="Textplatzhalter 9">
            <a:extLst>
              <a:ext uri="{FF2B5EF4-FFF2-40B4-BE49-F238E27FC236}">
                <a16:creationId xmlns:a16="http://schemas.microsoft.com/office/drawing/2014/main" id="{5D822308-8C91-B54E-847D-18396257A0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48" name="Gerader Verbinder 16">
            <a:extLst>
              <a:ext uri="{FF2B5EF4-FFF2-40B4-BE49-F238E27FC236}">
                <a16:creationId xmlns:a16="http://schemas.microsoft.com/office/drawing/2014/main" id="{CD7AB421-F959-7943-87A8-500A4F6E451B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12">
            <a:extLst>
              <a:ext uri="{FF2B5EF4-FFF2-40B4-BE49-F238E27FC236}">
                <a16:creationId xmlns:a16="http://schemas.microsoft.com/office/drawing/2014/main" id="{9062DBD6-7DBF-D348-9D1A-226334E54E07}"/>
              </a:ext>
            </a:extLst>
          </p:cNvPr>
          <p:cNvSpPr/>
          <p:nvPr userDrawn="1"/>
        </p:nvSpPr>
        <p:spPr>
          <a:xfrm>
            <a:off x="11838683" y="6577201"/>
            <a:ext cx="21955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0" i="0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 b="0" i="0">
              <a:latin typeface="Sen ExtraBold" pitchFamily="2" charset="0"/>
            </a:endParaRP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E4A1A8BC-1502-506B-9623-FB7E799A0A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28319322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Subtitle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32132AE-1F54-9C44-9E23-5449DC1B60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 b="0" i="0">
                <a:latin typeface="Sen ExtraBold" pitchFamily="2" charset="0"/>
              </a:defRPr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931CCCEB-DC29-E44B-A0DC-99EAA96D14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380" y="6220275"/>
            <a:ext cx="11226971" cy="21544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700" b="0" i="0">
                <a:latin typeface="Sen ExtraBold" pitchFamily="2" charset="0"/>
              </a:defRPr>
            </a:lvl1pPr>
            <a:lvl2pPr marL="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/>
              <a:t>Fußnote: 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6ACA9357-FD76-E04A-8450-FF63393BAB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00" y="1763713"/>
            <a:ext cx="11227051" cy="312737"/>
          </a:xfrm>
          <a:prstGeom prst="rect">
            <a:avLst/>
          </a:prstGeom>
        </p:spPr>
        <p:txBody>
          <a:bodyPr anchor="t" anchorCtr="0"/>
          <a:lstStyle>
            <a:lvl1pPr>
              <a:defRPr sz="1799" b="1" cap="all" baseline="0">
                <a:latin typeface="+mj-lt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1E47022F-EDC4-0C40-A746-67D2549EC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6971" cy="461665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/>
              <a:t>Titel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D979CDA-145B-D647-AD7A-132BFABBD4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85729" y="6580212"/>
            <a:ext cx="703536" cy="142855"/>
          </a:xfrm>
          <a:prstGeom prst="rect">
            <a:avLst/>
          </a:prstGeom>
        </p:spPr>
      </p:pic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52B10F04-7873-DF45-8C2B-CF65BF0274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8BF50C96-2A15-5347-B6D5-0843B10CCE1E}"/>
              </a:ext>
            </a:extLst>
          </p:cNvPr>
          <p:cNvSpPr txBox="1"/>
          <p:nvPr userDrawn="1"/>
        </p:nvSpPr>
        <p:spPr>
          <a:xfrm>
            <a:off x="6818124" y="99060"/>
            <a:ext cx="1081758" cy="91440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467878" tIns="0" rIns="0" bIns="0" rtlCol="0" anchor="t" anchorCtr="0">
            <a:noAutofit/>
          </a:bodyPr>
          <a:lstStyle/>
          <a:p>
            <a:pPr algn="l">
              <a:lnSpc>
                <a:spcPts val="1200"/>
              </a:lnSpc>
            </a:pPr>
            <a:endParaRPr lang="de-DE" sz="900" b="0" i="0">
              <a:solidFill>
                <a:srgbClr val="000000"/>
              </a:solidFill>
              <a:latin typeface="Sen ExtraBold" pitchFamily="2" charset="0"/>
            </a:endParaRPr>
          </a:p>
        </p:txBody>
      </p:sp>
      <p:cxnSp>
        <p:nvCxnSpPr>
          <p:cNvPr id="13" name="Gerader Verbinder 16">
            <a:extLst>
              <a:ext uri="{FF2B5EF4-FFF2-40B4-BE49-F238E27FC236}">
                <a16:creationId xmlns:a16="http://schemas.microsoft.com/office/drawing/2014/main" id="{8B5F93AA-C52C-6A46-969E-1AAB623F7878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2">
            <a:extLst>
              <a:ext uri="{FF2B5EF4-FFF2-40B4-BE49-F238E27FC236}">
                <a16:creationId xmlns:a16="http://schemas.microsoft.com/office/drawing/2014/main" id="{90799900-B682-1A49-8A80-5EF09FCE332C}"/>
              </a:ext>
            </a:extLst>
          </p:cNvPr>
          <p:cNvSpPr/>
          <p:nvPr userDrawn="1"/>
        </p:nvSpPr>
        <p:spPr>
          <a:xfrm>
            <a:off x="11837316" y="6577201"/>
            <a:ext cx="21955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0" i="0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 b="0" i="0">
              <a:latin typeface="Sen ExtraBold" pitchFamily="2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45EFC18-5515-46CE-8181-828C6986A5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300" y="2252663"/>
            <a:ext cx="11230225" cy="3940175"/>
          </a:xfr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  <a:lvl2pPr>
              <a:defRPr b="0" i="0">
                <a:latin typeface="Sen ExtraBold" pitchFamily="2" charset="0"/>
              </a:defRPr>
            </a:lvl2pPr>
            <a:lvl3pPr>
              <a:defRPr b="0" i="0">
                <a:latin typeface="Sen ExtraBold" pitchFamily="2" charset="0"/>
              </a:defRPr>
            </a:lvl3pPr>
            <a:lvl4pPr>
              <a:defRPr b="0" i="0">
                <a:latin typeface="Sen ExtraBold" pitchFamily="2" charset="0"/>
              </a:defRPr>
            </a:lvl4pPr>
            <a:lvl5pPr>
              <a:defRPr b="0" i="0">
                <a:latin typeface="Sen ExtraBold" pitchFamily="2" charset="0"/>
              </a:defRPr>
            </a:lvl5pPr>
            <a:lvl6pPr marL="898255" indent="-179334">
              <a:tabLst/>
              <a:defRPr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7494C56D-3FA0-B794-21C3-C1E1A3D5B3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33851245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AAC3FE32-1606-6B4C-96B3-D99635418F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68849" y="4223585"/>
            <a:ext cx="2233508" cy="1527784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tx1"/>
                </a:solidFill>
                <a:latin typeface="Sen ExtraBold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Adresse</a:t>
            </a:r>
          </a:p>
        </p:txBody>
      </p:sp>
      <p:sp>
        <p:nvSpPr>
          <p:cNvPr id="7" name="Inhaltsplatzhalter 17">
            <a:extLst>
              <a:ext uri="{FF2B5EF4-FFF2-40B4-BE49-F238E27FC236}">
                <a16:creationId xmlns:a16="http://schemas.microsoft.com/office/drawing/2014/main" id="{5EB591D2-557C-C446-A071-C2ED06DD283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80887" y="1763714"/>
            <a:ext cx="7299874" cy="312737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  <a:lvl2pPr>
              <a:defRPr b="0" i="0">
                <a:latin typeface="Sen ExtraBold" pitchFamily="2" charset="0"/>
              </a:defRPr>
            </a:lvl2pPr>
            <a:lvl3pPr>
              <a:defRPr b="0" i="0">
                <a:latin typeface="Sen ExtraBold" pitchFamily="2" charset="0"/>
              </a:defRPr>
            </a:lvl3pPr>
            <a:lvl4pPr>
              <a:defRPr b="0" i="0">
                <a:latin typeface="Sen ExtraBold" pitchFamily="2" charset="0"/>
              </a:defRPr>
            </a:lvl4pPr>
            <a:lvl5pPr>
              <a:defRPr b="0" i="0">
                <a:latin typeface="Sen ExtraBol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E19296C-9FC3-4545-A4C9-B3365E5BBA43}"/>
              </a:ext>
            </a:extLst>
          </p:cNvPr>
          <p:cNvSpPr txBox="1"/>
          <p:nvPr userDrawn="1"/>
        </p:nvSpPr>
        <p:spPr>
          <a:xfrm>
            <a:off x="8829678" y="1158875"/>
            <a:ext cx="2878181" cy="237923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lnSpc>
                <a:spcPts val="4800"/>
              </a:lnSpc>
              <a:spcBef>
                <a:spcPct val="0"/>
              </a:spcBef>
              <a:buNone/>
              <a:defRPr sz="4800" b="1" cap="all" baseline="0">
                <a:latin typeface="Bandeins Strange Bold Extd Half" panose="000005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de-DE" sz="4799" err="1"/>
              <a:t>Let‘s</a:t>
            </a:r>
            <a:r>
              <a:rPr lang="de-DE" sz="4799"/>
              <a:t> </a:t>
            </a:r>
            <a:r>
              <a:rPr lang="de-DE" sz="4799" err="1"/>
              <a:t>stay</a:t>
            </a:r>
            <a:r>
              <a:rPr lang="de-DE" sz="4799"/>
              <a:t> In Touch</a:t>
            </a:r>
          </a:p>
        </p:txBody>
      </p:sp>
      <p:sp>
        <p:nvSpPr>
          <p:cNvPr id="12" name="Textplatzhalter 16">
            <a:extLst>
              <a:ext uri="{FF2B5EF4-FFF2-40B4-BE49-F238E27FC236}">
                <a16:creationId xmlns:a16="http://schemas.microsoft.com/office/drawing/2014/main" id="{1FAE8423-D9BD-0843-A104-D483336E16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888" y="6198994"/>
            <a:ext cx="1279501" cy="260544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0">
                <a:noFill/>
                <a:latin typeface="Sen ExtraBold" pitchFamily="2" charset="0"/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37471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28991DF-BB52-46FA-BA1F-96E7F9D39A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68849" y="4223585"/>
            <a:ext cx="2233508" cy="1527784"/>
          </a:xfrm>
        </p:spPr>
        <p:txBody>
          <a:bodyPr/>
          <a:lstStyle>
            <a:lvl1pPr algn="r">
              <a:defRPr b="0" i="0">
                <a:solidFill>
                  <a:schemeClr val="tx1"/>
                </a:solidFill>
                <a:latin typeface="Sen ExtraBold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Adresse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FD3F1C6C-700E-4F18-B68D-5E42BD52378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80887" y="1763714"/>
            <a:ext cx="7299874" cy="3127375"/>
          </a:xfr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  <a:lvl2pPr>
              <a:defRPr b="0" i="0">
                <a:latin typeface="Sen ExtraBold" pitchFamily="2" charset="0"/>
              </a:defRPr>
            </a:lvl2pPr>
            <a:lvl3pPr>
              <a:defRPr b="0" i="0">
                <a:latin typeface="Sen ExtraBold" pitchFamily="2" charset="0"/>
              </a:defRPr>
            </a:lvl3pPr>
            <a:lvl4pPr>
              <a:defRPr b="0" i="0">
                <a:latin typeface="Sen ExtraBold" pitchFamily="2" charset="0"/>
              </a:defRPr>
            </a:lvl4pPr>
            <a:lvl5pPr>
              <a:defRPr b="0" i="0">
                <a:latin typeface="Sen ExtraBol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77592E7-1104-4350-A425-6BC5A728D48B}"/>
              </a:ext>
            </a:extLst>
          </p:cNvPr>
          <p:cNvSpPr txBox="1"/>
          <p:nvPr/>
        </p:nvSpPr>
        <p:spPr>
          <a:xfrm>
            <a:off x="8829678" y="1158875"/>
            <a:ext cx="2878181" cy="237923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lnSpc>
                <a:spcPts val="4800"/>
              </a:lnSpc>
              <a:spcBef>
                <a:spcPct val="0"/>
              </a:spcBef>
              <a:buNone/>
              <a:defRPr sz="4800" b="1" cap="all" baseline="0">
                <a:latin typeface="Bandeins Strange Bold Extd Half" panose="000005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de-DE" sz="4799" err="1"/>
              <a:t>Let‘s</a:t>
            </a:r>
            <a:r>
              <a:rPr lang="de-DE" sz="4799"/>
              <a:t> </a:t>
            </a:r>
            <a:r>
              <a:rPr lang="de-DE" sz="4799" err="1"/>
              <a:t>stay</a:t>
            </a:r>
            <a:r>
              <a:rPr lang="de-DE" sz="4799"/>
              <a:t> In Touch</a:t>
            </a:r>
          </a:p>
        </p:txBody>
      </p:sp>
      <p:sp>
        <p:nvSpPr>
          <p:cNvPr id="7" name="Textplatzhalter 16">
            <a:extLst>
              <a:ext uri="{FF2B5EF4-FFF2-40B4-BE49-F238E27FC236}">
                <a16:creationId xmlns:a16="http://schemas.microsoft.com/office/drawing/2014/main" id="{3400EECA-0BD1-CD49-AAB4-835C746A68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888" y="6198994"/>
            <a:ext cx="1279501" cy="260544"/>
          </a:xfrm>
          <a:prstGeom prst="rect">
            <a:avLst/>
          </a:prstGeom>
          <a:blipFill>
            <a:blip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0">
                <a:noFill/>
                <a:latin typeface="Sen ExtraBold" pitchFamily="2" charset="0"/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824884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33BF953-6CE9-4131-8270-0972C3897F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</p:spPr>
        <p:txBody>
          <a:bodyPr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F61F2D08-AA21-8C4F-AE92-E9D101CC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8637" cy="461665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/>
              <a:t>Tite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3B78292-1B8D-8B42-9382-48A001D8B7C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AAC2C9-9579-9D40-B202-332F19C68E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11226970" cy="307777"/>
          </a:xfr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16" name="Gerader Verbinder 16">
            <a:extLst>
              <a:ext uri="{FF2B5EF4-FFF2-40B4-BE49-F238E27FC236}">
                <a16:creationId xmlns:a16="http://schemas.microsoft.com/office/drawing/2014/main" id="{AE1246D5-B647-D742-BF79-9F47994E206A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2">
            <a:extLst>
              <a:ext uri="{FF2B5EF4-FFF2-40B4-BE49-F238E27FC236}">
                <a16:creationId xmlns:a16="http://schemas.microsoft.com/office/drawing/2014/main" id="{76770CE1-DD59-3A44-8D32-595B79F1F326}"/>
              </a:ext>
            </a:extLst>
          </p:cNvPr>
          <p:cNvSpPr/>
          <p:nvPr userDrawn="1"/>
        </p:nvSpPr>
        <p:spPr>
          <a:xfrm>
            <a:off x="11837316" y="6577201"/>
            <a:ext cx="227567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F32FD493-F4C6-B9BC-B44D-8937E60837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42278031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Page inverted with Imag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EC393DE-98F0-6347-90F9-E71D87D19AE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1" y="0"/>
            <a:ext cx="12188824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über Klick auf Icon hinzufügen und anschließend über Rechtsklick in den Hintergrund setzen</a:t>
            </a:r>
          </a:p>
          <a:p>
            <a:r>
              <a:rPr lang="de-DE"/>
              <a:t>Click on Add </a:t>
            </a:r>
            <a:r>
              <a:rPr lang="de-DE" err="1"/>
              <a:t>icon</a:t>
            </a:r>
            <a:r>
              <a:rPr lang="de-DE"/>
              <a:t> and </a:t>
            </a:r>
            <a:r>
              <a:rPr lang="de-DE" err="1"/>
              <a:t>then</a:t>
            </a:r>
            <a:r>
              <a:rPr lang="de-DE"/>
              <a:t> </a:t>
            </a:r>
            <a:r>
              <a:rPr lang="de-DE" err="1"/>
              <a:t>right-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lac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mage</a:t>
            </a:r>
            <a:r>
              <a:rPr lang="de-DE"/>
              <a:t> 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background</a:t>
            </a:r>
            <a:r>
              <a:rPr lang="de-DE"/>
              <a:t> </a:t>
            </a:r>
          </a:p>
        </p:txBody>
      </p:sp>
      <p:sp>
        <p:nvSpPr>
          <p:cNvPr id="3" name="Textplatzhalter 16">
            <a:extLst>
              <a:ext uri="{FF2B5EF4-FFF2-40B4-BE49-F238E27FC236}">
                <a16:creationId xmlns:a16="http://schemas.microsoft.com/office/drawing/2014/main" id="{2A01A151-4226-4D04-9454-D9F1480A36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0888" y="6198994"/>
            <a:ext cx="1281266" cy="26054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FF29BDC9-3AE5-47C6-ACBF-B100B19CD1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86082" y="565805"/>
            <a:ext cx="7479507" cy="27107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8797">
                <a:solidFill>
                  <a:schemeClr val="bg1"/>
                </a:solidFill>
                <a:latin typeface="Bandeins Strange Bold Extd Half" panose="00000500000000000000" pitchFamily="50" charset="0"/>
              </a:defRPr>
            </a:lvl1pPr>
          </a:lstStyle>
          <a:p>
            <a:r>
              <a:rPr lang="de-DE"/>
              <a:t>Titel/title</a:t>
            </a: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AB69104A-3EBD-4426-A3A1-4336434F6D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6081" y="5011015"/>
            <a:ext cx="3627855" cy="583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457063" indent="0">
              <a:buNone/>
              <a:defRPr/>
            </a:lvl2pPr>
          </a:lstStyle>
          <a:p>
            <a:pPr lvl="0"/>
            <a:r>
              <a:rPr lang="de-DE"/>
              <a:t>Name Nachname</a:t>
            </a:r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0B84B2D6-33F7-5651-1855-94414EC34B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081" y="3789363"/>
            <a:ext cx="3629236" cy="5762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 oder Logoplatzhalter</a:t>
            </a:r>
          </a:p>
        </p:txBody>
      </p:sp>
    </p:spTree>
    <p:extLst>
      <p:ext uri="{BB962C8B-B14F-4D97-AF65-F5344CB8AC3E}">
        <p14:creationId xmlns:p14="http://schemas.microsoft.com/office/powerpoint/2010/main" val="2894467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26B43"/>
          </p15:clr>
        </p15:guide>
        <p15:guide id="2" orient="horz" pos="2750">
          <p15:clr>
            <a:srgbClr val="F26B43"/>
          </p15:clr>
        </p15:guide>
        <p15:guide id="3" orient="horz" pos="3158">
          <p15:clr>
            <a:srgbClr val="F26B43"/>
          </p15:clr>
        </p15:guide>
        <p15:guide id="4" orient="horz" pos="352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2"/>
          <p:cNvSpPr txBox="1">
            <a:spLocks noGrp="1"/>
          </p:cNvSpPr>
          <p:nvPr>
            <p:ph type="sldNum" idx="12"/>
          </p:nvPr>
        </p:nvSpPr>
        <p:spPr>
          <a:xfrm>
            <a:off x="11293669" y="6217623"/>
            <a:ext cx="731409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 b="0" i="0">
                <a:latin typeface="Sen ExtraBold" pitchFamily="2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43572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>
            <a:extLst>
              <a:ext uri="{FF2B5EF4-FFF2-40B4-BE49-F238E27FC236}">
                <a16:creationId xmlns:a16="http://schemas.microsoft.com/office/drawing/2014/main" id="{A0FC40A5-FDA5-42A1-9E68-BE85A2C8FF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888" y="6198994"/>
            <a:ext cx="1279501" cy="260544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78788CF1-EBF0-43FE-97FE-92BED5B3BC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01" y="4982440"/>
            <a:ext cx="3742350" cy="58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063" indent="0">
              <a:buNone/>
              <a:defRPr/>
            </a:lvl2pPr>
          </a:lstStyle>
          <a:p>
            <a:pPr lvl="0"/>
            <a:r>
              <a:rPr lang="de-DE"/>
              <a:t>Name Nachnam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DDB8B28-4F69-CC4A-81EE-6E003980D653}"/>
              </a:ext>
            </a:extLst>
          </p:cNvPr>
          <p:cNvSpPr txBox="1"/>
          <p:nvPr userDrawn="1"/>
        </p:nvSpPr>
        <p:spPr>
          <a:xfrm>
            <a:off x="9737365" y="6698751"/>
            <a:ext cx="0" cy="0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none" lIns="467878" tIns="0" rIns="0" bIns="0" rtlCol="0" anchor="t" anchorCtr="0">
            <a:noAutofit/>
          </a:bodyPr>
          <a:lstStyle/>
          <a:p>
            <a:pPr algn="l">
              <a:lnSpc>
                <a:spcPts val="1200"/>
              </a:lnSpc>
            </a:pPr>
            <a:endParaRPr lang="de-DE" sz="900">
              <a:solidFill>
                <a:srgbClr val="000000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DF64693-73D1-564C-86F3-608DA7429414}"/>
              </a:ext>
            </a:extLst>
          </p:cNvPr>
          <p:cNvSpPr txBox="1"/>
          <p:nvPr userDrawn="1"/>
        </p:nvSpPr>
        <p:spPr>
          <a:xfrm>
            <a:off x="996333" y="6616557"/>
            <a:ext cx="0" cy="0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none" lIns="467878" tIns="0" rIns="0" bIns="0" rtlCol="0" anchor="t" anchorCtr="0">
            <a:noAutofit/>
          </a:bodyPr>
          <a:lstStyle/>
          <a:p>
            <a:pPr algn="l">
              <a:lnSpc>
                <a:spcPts val="1200"/>
              </a:lnSpc>
            </a:pPr>
            <a:endParaRPr lang="de-DE" sz="900">
              <a:solidFill>
                <a:srgbClr val="000000"/>
              </a:solidFill>
            </a:endParaRP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178F9138-F0B7-634B-80EE-03F5D1B08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873" y="549275"/>
            <a:ext cx="11228637" cy="2559574"/>
          </a:xfrm>
        </p:spPr>
        <p:txBody>
          <a:bodyPr/>
          <a:lstStyle>
            <a:lvl1pPr>
              <a:defRPr sz="8797" b="1" i="0">
                <a:latin typeface="Bandeins Strange Bold Extd Half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803D37CE-24AB-C349-9C9F-F4CE23763F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64" y="3765886"/>
            <a:ext cx="3742350" cy="5832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200"/>
              </a:lnSpc>
              <a:buNone/>
              <a:defRPr/>
            </a:lvl1pPr>
            <a:lvl2pPr marL="457063" indent="0">
              <a:buNone/>
              <a:defRPr/>
            </a:lvl2pPr>
          </a:lstStyle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Hier könnte das Logo </a:t>
            </a:r>
          </a:p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platziert werden</a:t>
            </a:r>
          </a:p>
        </p:txBody>
      </p:sp>
    </p:spTree>
    <p:extLst>
      <p:ext uri="{BB962C8B-B14F-4D97-AF65-F5344CB8AC3E}">
        <p14:creationId xmlns:p14="http://schemas.microsoft.com/office/powerpoint/2010/main" val="32345230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Invert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78788CF1-EBF0-43FE-97FE-92BED5B3BC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01" y="4982440"/>
            <a:ext cx="3742350" cy="58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063" indent="0">
              <a:buNone/>
              <a:defRPr/>
            </a:lvl2pPr>
          </a:lstStyle>
          <a:p>
            <a:pPr lvl="0"/>
            <a:r>
              <a:rPr lang="de-DE"/>
              <a:t>Name Nachnam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DDB8B28-4F69-CC4A-81EE-6E003980D653}"/>
              </a:ext>
            </a:extLst>
          </p:cNvPr>
          <p:cNvSpPr txBox="1"/>
          <p:nvPr userDrawn="1"/>
        </p:nvSpPr>
        <p:spPr>
          <a:xfrm>
            <a:off x="9737365" y="6698751"/>
            <a:ext cx="0" cy="0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none" lIns="467878" tIns="0" rIns="0" bIns="0" rtlCol="0" anchor="t" anchorCtr="0">
            <a:noAutofit/>
          </a:bodyPr>
          <a:lstStyle/>
          <a:p>
            <a:pPr algn="l">
              <a:lnSpc>
                <a:spcPts val="1200"/>
              </a:lnSpc>
            </a:pPr>
            <a:endParaRPr lang="de-DE" sz="900">
              <a:solidFill>
                <a:srgbClr val="000000"/>
              </a:solidFill>
            </a:endParaRP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178F9138-F0B7-634B-80EE-03F5D1B08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873" y="549275"/>
            <a:ext cx="11228637" cy="2559574"/>
          </a:xfrm>
        </p:spPr>
        <p:txBody>
          <a:bodyPr/>
          <a:lstStyle>
            <a:lvl1pPr>
              <a:defRPr sz="8797" b="1" i="0">
                <a:solidFill>
                  <a:schemeClr val="bg1"/>
                </a:solidFill>
                <a:latin typeface="Bandeins Strange Bold Extd Half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803D37CE-24AB-C349-9C9F-F4CE23763F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64" y="3765886"/>
            <a:ext cx="3742350" cy="5832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200"/>
              </a:lnSpc>
              <a:buNone/>
              <a:defRPr>
                <a:solidFill>
                  <a:schemeClr val="bg1"/>
                </a:solidFill>
              </a:defRPr>
            </a:lvl1pPr>
            <a:lvl2pPr marL="457063" indent="0">
              <a:buNone/>
              <a:defRPr/>
            </a:lvl2pPr>
          </a:lstStyle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Hier könnte das Logo </a:t>
            </a:r>
          </a:p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platziert werde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B6320EC8-7434-324D-B829-A8A07613B5F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88825" cy="6858000"/>
          </a:xfrm>
          <a:prstGeom prst="rect">
            <a:avLst/>
          </a:prstGeom>
        </p:spPr>
        <p:txBody>
          <a:bodyPr anchor="ctr" anchorCtr="0"/>
          <a:lstStyle>
            <a:lvl1pPr>
              <a:defRPr sz="1799"/>
            </a:lvl1pPr>
          </a:lstStyle>
          <a:p>
            <a:r>
              <a:rPr lang="de-DE"/>
              <a:t>Bild über Klick auf Icon hinzufügen und anschließend über Rechtsklick in den Hintergrund setzen 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158BF3BA-C27A-2F45-9AE7-9AE9267535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888" y="6198994"/>
            <a:ext cx="1281266" cy="260544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540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6">
            <a:extLst>
              <a:ext uri="{FF2B5EF4-FFF2-40B4-BE49-F238E27FC236}">
                <a16:creationId xmlns:a16="http://schemas.microsoft.com/office/drawing/2014/main" id="{2A01A151-4226-4D04-9454-D9F1480A36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888" y="6198994"/>
            <a:ext cx="1281266" cy="26054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FF29BDC9-3AE5-47C6-ACBF-B100B19CD1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6082" y="549275"/>
            <a:ext cx="7479507" cy="299598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8797">
                <a:latin typeface="Bandeins Strange Bold Extd Half" panose="00000500000000000000" pitchFamily="50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AB69104A-3EBD-4426-A3A1-4336434F6D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01" y="4982440"/>
            <a:ext cx="3742350" cy="58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063" indent="0">
              <a:buNone/>
              <a:defRPr/>
            </a:lvl2pPr>
          </a:lstStyle>
          <a:p>
            <a:pPr lvl="0"/>
            <a:r>
              <a:rPr lang="de-DE"/>
              <a:t>Name Nachname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1B0C0FE4-998A-4533-BFF2-DC473807C25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965589" y="0"/>
            <a:ext cx="4223237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18">
            <a:extLst>
              <a:ext uri="{FF2B5EF4-FFF2-40B4-BE49-F238E27FC236}">
                <a16:creationId xmlns:a16="http://schemas.microsoft.com/office/drawing/2014/main" id="{ADB0EEB4-DB0B-7649-BA0F-1FC49DD1A2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3764" y="3765886"/>
            <a:ext cx="3742350" cy="5832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200"/>
              </a:lnSpc>
              <a:buNone/>
              <a:defRPr/>
            </a:lvl1pPr>
            <a:lvl2pPr marL="457063" indent="0">
              <a:buNone/>
              <a:defRPr/>
            </a:lvl2pPr>
          </a:lstStyle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Hier könnte das Logo </a:t>
            </a:r>
          </a:p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platziert werden</a:t>
            </a:r>
          </a:p>
        </p:txBody>
      </p:sp>
    </p:spTree>
    <p:extLst>
      <p:ext uri="{BB962C8B-B14F-4D97-AF65-F5344CB8AC3E}">
        <p14:creationId xmlns:p14="http://schemas.microsoft.com/office/powerpoint/2010/main" val="798593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>
            <a:extLst>
              <a:ext uri="{FF2B5EF4-FFF2-40B4-BE49-F238E27FC236}">
                <a16:creationId xmlns:a16="http://schemas.microsoft.com/office/drawing/2014/main" id="{A0FC40A5-FDA5-42A1-9E68-BE85A2C8FF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888" y="6198994"/>
            <a:ext cx="1279501" cy="260544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0">
                <a:noFill/>
                <a:latin typeface="Sen ExtraBold" pitchFamily="2" charset="0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78788CF1-EBF0-43FE-97FE-92BED5B3BC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01" y="4982440"/>
            <a:ext cx="3742350" cy="58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</a:lstStyle>
          <a:p>
            <a:pPr lvl="0"/>
            <a:r>
              <a:rPr lang="de-DE"/>
              <a:t>Name Nachnam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DDB8B28-4F69-CC4A-81EE-6E003980D653}"/>
              </a:ext>
            </a:extLst>
          </p:cNvPr>
          <p:cNvSpPr txBox="1"/>
          <p:nvPr userDrawn="1"/>
        </p:nvSpPr>
        <p:spPr>
          <a:xfrm>
            <a:off x="9737365" y="6698751"/>
            <a:ext cx="0" cy="0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none" lIns="467878" tIns="0" rIns="0" bIns="0" rtlCol="0" anchor="t" anchorCtr="0">
            <a:noAutofit/>
          </a:bodyPr>
          <a:lstStyle/>
          <a:p>
            <a:pPr algn="l">
              <a:lnSpc>
                <a:spcPts val="1200"/>
              </a:lnSpc>
            </a:pPr>
            <a:endParaRPr lang="de-DE" sz="900" b="0" i="0">
              <a:solidFill>
                <a:srgbClr val="000000"/>
              </a:solidFill>
              <a:latin typeface="Sen ExtraBold" pitchFamily="2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DF64693-73D1-564C-86F3-608DA7429414}"/>
              </a:ext>
            </a:extLst>
          </p:cNvPr>
          <p:cNvSpPr txBox="1"/>
          <p:nvPr userDrawn="1"/>
        </p:nvSpPr>
        <p:spPr>
          <a:xfrm>
            <a:off x="996333" y="6616557"/>
            <a:ext cx="0" cy="0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none" lIns="467878" tIns="0" rIns="0" bIns="0" rtlCol="0" anchor="t" anchorCtr="0">
            <a:noAutofit/>
          </a:bodyPr>
          <a:lstStyle/>
          <a:p>
            <a:pPr algn="l">
              <a:lnSpc>
                <a:spcPts val="1200"/>
              </a:lnSpc>
            </a:pPr>
            <a:endParaRPr lang="de-DE" sz="900" b="0" i="0">
              <a:solidFill>
                <a:srgbClr val="000000"/>
              </a:solidFill>
              <a:latin typeface="Sen ExtraBold" pitchFamily="2" charset="0"/>
            </a:endParaRP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178F9138-F0B7-634B-80EE-03F5D1B08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873" y="549275"/>
            <a:ext cx="11228637" cy="2559574"/>
          </a:xfrm>
        </p:spPr>
        <p:txBody>
          <a:bodyPr/>
          <a:lstStyle>
            <a:lvl1pPr>
              <a:defRPr sz="8797" b="1" i="0">
                <a:latin typeface="Bandeins Strange Bold Extd Half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803D37CE-24AB-C349-9C9F-F4CE23763F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64" y="3765886"/>
            <a:ext cx="3742350" cy="5832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200"/>
              </a:lnSpc>
              <a:buNone/>
              <a:defRPr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</a:lstStyle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Hier könnte das Logo </a:t>
            </a:r>
          </a:p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platziert werden</a:t>
            </a:r>
          </a:p>
        </p:txBody>
      </p:sp>
    </p:spTree>
    <p:extLst>
      <p:ext uri="{BB962C8B-B14F-4D97-AF65-F5344CB8AC3E}">
        <p14:creationId xmlns:p14="http://schemas.microsoft.com/office/powerpoint/2010/main" val="37887737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EB5146-201D-4C1C-8B74-7E1FBC811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Agenda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0B88AE01-7DEB-4613-98FF-8EBF97A1C0F1}"/>
              </a:ext>
            </a:extLst>
          </p:cNvPr>
          <p:cNvCxnSpPr>
            <a:cxnSpLocks/>
          </p:cNvCxnSpPr>
          <p:nvPr/>
        </p:nvCxnSpPr>
        <p:spPr>
          <a:xfrm>
            <a:off x="0" y="2378753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DEFE3953-420E-4DA4-BC0B-A5FBD70965AE}"/>
              </a:ext>
            </a:extLst>
          </p:cNvPr>
          <p:cNvCxnSpPr>
            <a:cxnSpLocks/>
          </p:cNvCxnSpPr>
          <p:nvPr/>
        </p:nvCxnSpPr>
        <p:spPr>
          <a:xfrm>
            <a:off x="0" y="2993793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8A4D413F-87C6-418E-88A3-0F3FC8F111B7}"/>
              </a:ext>
            </a:extLst>
          </p:cNvPr>
          <p:cNvCxnSpPr>
            <a:cxnSpLocks/>
          </p:cNvCxnSpPr>
          <p:nvPr/>
        </p:nvCxnSpPr>
        <p:spPr>
          <a:xfrm>
            <a:off x="0" y="3608833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49B8F1C2-4330-4725-AF63-7A1295C06CFE}"/>
              </a:ext>
            </a:extLst>
          </p:cNvPr>
          <p:cNvCxnSpPr>
            <a:cxnSpLocks/>
          </p:cNvCxnSpPr>
          <p:nvPr/>
        </p:nvCxnSpPr>
        <p:spPr>
          <a:xfrm>
            <a:off x="-40" y="4223860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E6B6940E-6A46-452D-A160-4CE726B7ACDF}"/>
              </a:ext>
            </a:extLst>
          </p:cNvPr>
          <p:cNvCxnSpPr>
            <a:cxnSpLocks/>
          </p:cNvCxnSpPr>
          <p:nvPr/>
        </p:nvCxnSpPr>
        <p:spPr>
          <a:xfrm>
            <a:off x="0" y="4838913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7">
            <a:extLst>
              <a:ext uri="{FF2B5EF4-FFF2-40B4-BE49-F238E27FC236}">
                <a16:creationId xmlns:a16="http://schemas.microsoft.com/office/drawing/2014/main" id="{1B474A83-533E-034A-B57B-9C4AA323524B}"/>
              </a:ext>
            </a:extLst>
          </p:cNvPr>
          <p:cNvCxnSpPr>
            <a:cxnSpLocks/>
          </p:cNvCxnSpPr>
          <p:nvPr userDrawn="1"/>
        </p:nvCxnSpPr>
        <p:spPr>
          <a:xfrm>
            <a:off x="0" y="5451688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736D0AAF-CA99-9549-8F49-037FD85975EA}"/>
              </a:ext>
            </a:extLst>
          </p:cNvPr>
          <p:cNvSpPr txBox="1"/>
          <p:nvPr userDrawn="1"/>
        </p:nvSpPr>
        <p:spPr>
          <a:xfrm>
            <a:off x="1445183" y="6414247"/>
            <a:ext cx="0" cy="0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none" lIns="467878" tIns="0" rIns="0" bIns="0" rtlCol="0" anchor="t" anchorCtr="0">
            <a:noAutofit/>
          </a:bodyPr>
          <a:lstStyle/>
          <a:p>
            <a:pPr algn="l">
              <a:lnSpc>
                <a:spcPts val="1200"/>
              </a:lnSpc>
            </a:pPr>
            <a:endParaRPr lang="de-DE" sz="900">
              <a:solidFill>
                <a:srgbClr val="000000"/>
              </a:solidFill>
            </a:endParaRP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A4D25783-B89E-2546-8924-CDA2A10B67E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cxnSp>
        <p:nvCxnSpPr>
          <p:cNvPr id="31" name="Gerader Verbinder 16">
            <a:extLst>
              <a:ext uri="{FF2B5EF4-FFF2-40B4-BE49-F238E27FC236}">
                <a16:creationId xmlns:a16="http://schemas.microsoft.com/office/drawing/2014/main" id="{E0A17CF4-5D34-B64B-8EBF-74F420358544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12">
            <a:extLst>
              <a:ext uri="{FF2B5EF4-FFF2-40B4-BE49-F238E27FC236}">
                <a16:creationId xmlns:a16="http://schemas.microsoft.com/office/drawing/2014/main" id="{00B84A25-4894-2B47-97CB-735C1FEBEE37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90B3DA8F-E2D4-814C-BCF8-75159A1E07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  <a:endParaRPr lang="de-DE" b="1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7B91FE6-DEB8-E848-BD1E-9BCF35AFE6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0450" y="1774825"/>
            <a:ext cx="9357900" cy="3952869"/>
          </a:xfrm>
        </p:spPr>
        <p:txBody>
          <a:bodyPr/>
          <a:lstStyle>
            <a:lvl1pPr>
              <a:lnSpc>
                <a:spcPts val="4799"/>
              </a:lnSpc>
              <a:defRPr sz="3199" b="1" i="0">
                <a:latin typeface="Bandeins Strange" pitchFamily="2" charset="0"/>
              </a:defRPr>
            </a:lvl1pPr>
          </a:lstStyle>
          <a:p>
            <a:pPr lvl="0"/>
            <a:r>
              <a:rPr lang="de-DE"/>
              <a:t>Kapitel 1</a:t>
            </a:r>
          </a:p>
          <a:p>
            <a:pPr lvl="0"/>
            <a:r>
              <a:rPr lang="de-DE"/>
              <a:t>Kapitel 2</a:t>
            </a:r>
          </a:p>
          <a:p>
            <a:pPr lvl="0"/>
            <a:r>
              <a:rPr lang="de-DE"/>
              <a:t>Kapitel 3</a:t>
            </a:r>
          </a:p>
          <a:p>
            <a:pPr lvl="0"/>
            <a:r>
              <a:rPr lang="de-DE"/>
              <a:t>Kapitel 4</a:t>
            </a:r>
          </a:p>
          <a:p>
            <a:pPr lvl="0"/>
            <a:r>
              <a:rPr lang="de-DE"/>
              <a:t>Kapitel 5</a:t>
            </a:r>
          </a:p>
          <a:p>
            <a:pPr lvl="0"/>
            <a:r>
              <a:rPr lang="de-DE"/>
              <a:t>Kapitel 6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9DE904D-AF2F-3B4B-A274-E936AF4E787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885137" y="1774800"/>
            <a:ext cx="1824388" cy="4078284"/>
          </a:xfrm>
        </p:spPr>
        <p:txBody>
          <a:bodyPr/>
          <a:lstStyle>
            <a:lvl1pPr algn="r">
              <a:lnSpc>
                <a:spcPts val="4799"/>
              </a:lnSpc>
              <a:defRPr b="0" i="0">
                <a:latin typeface="Sen ExtraBold" pitchFamily="2" charset="0"/>
              </a:defRPr>
            </a:lvl1pPr>
          </a:lstStyle>
          <a:p>
            <a:pPr lvl="0"/>
            <a:r>
              <a:rPr lang="de-DE"/>
              <a:t>Seite x</a:t>
            </a:r>
          </a:p>
          <a:p>
            <a:pPr lvl="0"/>
            <a:r>
              <a:rPr lang="de-DE"/>
              <a:t>Seite x</a:t>
            </a:r>
          </a:p>
          <a:p>
            <a:pPr lvl="0"/>
            <a:r>
              <a:rPr lang="de-DE"/>
              <a:t>Seite x</a:t>
            </a:r>
          </a:p>
          <a:p>
            <a:pPr lvl="0"/>
            <a:r>
              <a:rPr lang="de-DE"/>
              <a:t>Seite x</a:t>
            </a:r>
          </a:p>
          <a:p>
            <a:pPr lvl="0"/>
            <a:r>
              <a:rPr lang="de-DE"/>
              <a:t>Seite x</a:t>
            </a:r>
          </a:p>
          <a:p>
            <a:pPr lvl="0"/>
            <a:r>
              <a:rPr lang="de-DE"/>
              <a:t>Seite x</a:t>
            </a:r>
          </a:p>
        </p:txBody>
      </p:sp>
    </p:spTree>
    <p:extLst>
      <p:ext uri="{BB962C8B-B14F-4D97-AF65-F5344CB8AC3E}">
        <p14:creationId xmlns:p14="http://schemas.microsoft.com/office/powerpoint/2010/main" val="34127910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938C592-20F1-B543-B8A4-E591AEFE7E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887" y="1763713"/>
            <a:ext cx="11226971" cy="4437061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11">
            <a:extLst>
              <a:ext uri="{FF2B5EF4-FFF2-40B4-BE49-F238E27FC236}">
                <a16:creationId xmlns:a16="http://schemas.microsoft.com/office/drawing/2014/main" id="{E255202F-7BB2-EF4E-84BC-E7D92A2639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CC03B78-5F4B-C54B-A9BA-9BB15F39B7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380" y="6220275"/>
            <a:ext cx="11226971" cy="21544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700"/>
            </a:lvl1pPr>
            <a:lvl2pPr marL="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/>
              <a:t>Fußnote: 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3B75D204-0D9F-8B4F-91C9-831E6F3583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6971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240812-7FD3-DA46-AC86-67C09861A79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8" name="Textplatzhalter 9">
            <a:extLst>
              <a:ext uri="{FF2B5EF4-FFF2-40B4-BE49-F238E27FC236}">
                <a16:creationId xmlns:a16="http://schemas.microsoft.com/office/drawing/2014/main" id="{EBC206A4-147C-644A-961C-DED22C57B1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14" name="Gerader Verbinder 16">
            <a:extLst>
              <a:ext uri="{FF2B5EF4-FFF2-40B4-BE49-F238E27FC236}">
                <a16:creationId xmlns:a16="http://schemas.microsoft.com/office/drawing/2014/main" id="{7433445D-8C43-464B-9EF4-131A98A0A0F3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2">
            <a:extLst>
              <a:ext uri="{FF2B5EF4-FFF2-40B4-BE49-F238E27FC236}">
                <a16:creationId xmlns:a16="http://schemas.microsoft.com/office/drawing/2014/main" id="{0A7D8329-EF18-0B4D-B512-C4B8F562F873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603E485-A509-7A49-B50F-66BD0F927C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14756147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33BF953-6CE9-4131-8270-0972C3897F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F61F2D08-AA21-8C4F-AE92-E9D101CC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8637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3B78292-1B8D-8B42-9382-48A001D8B7C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AAC2C9-9579-9D40-B202-332F19C68E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16" name="Gerader Verbinder 16">
            <a:extLst>
              <a:ext uri="{FF2B5EF4-FFF2-40B4-BE49-F238E27FC236}">
                <a16:creationId xmlns:a16="http://schemas.microsoft.com/office/drawing/2014/main" id="{AE1246D5-B647-D742-BF79-9F47994E206A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FD31EAFD-EC1F-FA46-8258-B58A09C929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  <a:endParaRPr lang="de-DE" b="1"/>
          </a:p>
        </p:txBody>
      </p:sp>
      <p:sp>
        <p:nvSpPr>
          <p:cNvPr id="18" name="Rechteck 12">
            <a:extLst>
              <a:ext uri="{FF2B5EF4-FFF2-40B4-BE49-F238E27FC236}">
                <a16:creationId xmlns:a16="http://schemas.microsoft.com/office/drawing/2014/main" id="{76770CE1-DD59-3A44-8D32-595B79F1F326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1073409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33BF953-6CE9-4131-8270-0972C3897F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F61F2D08-AA21-8C4F-AE92-E9D101CC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8637" cy="461665"/>
          </a:xfrm>
        </p:spPr>
        <p:txBody>
          <a:bodyPr/>
          <a:lstStyle>
            <a:lvl1pPr>
              <a:defRPr b="1" i="0" cap="none" baseline="0">
                <a:solidFill>
                  <a:schemeClr val="bg1"/>
                </a:solidFill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3B78292-1B8D-8B42-9382-48A001D8B7C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AAC2C9-9579-9D40-B202-332F19C68E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>
                <a:solidFill>
                  <a:schemeClr val="bg1"/>
                </a:solidFill>
              </a:defRPr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16" name="Gerader Verbinder 16">
            <a:extLst>
              <a:ext uri="{FF2B5EF4-FFF2-40B4-BE49-F238E27FC236}">
                <a16:creationId xmlns:a16="http://schemas.microsoft.com/office/drawing/2014/main" id="{AE1246D5-B647-D742-BF79-9F47994E206A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FD31EAFD-EC1F-FA46-8258-B58A09C929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chemeClr val="bg1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  <a:endParaRPr lang="de-DE" b="1"/>
          </a:p>
        </p:txBody>
      </p:sp>
      <p:sp>
        <p:nvSpPr>
          <p:cNvPr id="18" name="Rechteck 12">
            <a:extLst>
              <a:ext uri="{FF2B5EF4-FFF2-40B4-BE49-F238E27FC236}">
                <a16:creationId xmlns:a16="http://schemas.microsoft.com/office/drawing/2014/main" id="{76770CE1-DD59-3A44-8D32-595B79F1F326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chemeClr val="bg1"/>
                </a:solidFill>
                <a:latin typeface="Sen ExtraBold" pitchFamily="2" charset="0"/>
              </a:rPr>
              <a:pPr/>
              <a:t>‹Nr.›</a:t>
            </a:fld>
            <a:endParaRPr lang="de-DE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4903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CAC9CF-8AA1-AE43-8AE5-5FB48DD876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 b="1" i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1005835-5E1A-8448-BA86-A336D1A04B9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76F0FAEB-8483-EC47-9BD6-9A88ADAAAD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cxnSp>
        <p:nvCxnSpPr>
          <p:cNvPr id="8" name="Gerader Verbinder 16">
            <a:extLst>
              <a:ext uri="{FF2B5EF4-FFF2-40B4-BE49-F238E27FC236}">
                <a16:creationId xmlns:a16="http://schemas.microsoft.com/office/drawing/2014/main" id="{5ECCC085-5D8C-6440-9F21-6FDB155A51DD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2">
            <a:extLst>
              <a:ext uri="{FF2B5EF4-FFF2-40B4-BE49-F238E27FC236}">
                <a16:creationId xmlns:a16="http://schemas.microsoft.com/office/drawing/2014/main" id="{CADF45C5-430F-2044-B9C6-15D5E737A56D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0507EC6-0C6F-2E4A-99E9-53A5A66D2C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28796220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A3E0560E-17DA-6740-B9F1-F5861768C35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cxnSp>
        <p:nvCxnSpPr>
          <p:cNvPr id="9" name="Gerader Verbinder 16">
            <a:extLst>
              <a:ext uri="{FF2B5EF4-FFF2-40B4-BE49-F238E27FC236}">
                <a16:creationId xmlns:a16="http://schemas.microsoft.com/office/drawing/2014/main" id="{78B3225C-25C1-9145-8D5B-6386B208F348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939ED7A2-044D-6A4C-BA15-E983945ECE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 sz="900">
                <a:solidFill>
                  <a:srgbClr val="000000"/>
                </a:solidFill>
                <a:latin typeface="Sen ExtraBold" pitchFamily="2" charset="0"/>
              </a:rPr>
              <a:t>Exxeta x OTTO | trade/off Summit | Heidelberg</a:t>
            </a:r>
            <a:endParaRPr lang="de-DE" sz="900" b="1">
              <a:solidFill>
                <a:srgbClr val="000000"/>
              </a:solidFill>
              <a:latin typeface="Sen ExtraBold" pitchFamily="2" charset="0"/>
            </a:endParaRPr>
          </a:p>
        </p:txBody>
      </p:sp>
      <p:sp>
        <p:nvSpPr>
          <p:cNvPr id="11" name="Rechteck 12">
            <a:extLst>
              <a:ext uri="{FF2B5EF4-FFF2-40B4-BE49-F238E27FC236}">
                <a16:creationId xmlns:a16="http://schemas.microsoft.com/office/drawing/2014/main" id="{D1BC3677-869E-3448-B1A4-0DC9493B74BC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12160260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Text Content 2/3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7">
            <a:extLst>
              <a:ext uri="{FF2B5EF4-FFF2-40B4-BE49-F238E27FC236}">
                <a16:creationId xmlns:a16="http://schemas.microsoft.com/office/drawing/2014/main" id="{C98C121B-5EC2-5441-A9DE-BE7CECE97B2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39696" y="1"/>
            <a:ext cx="7949128" cy="64520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  <p:cxnSp>
        <p:nvCxnSpPr>
          <p:cNvPr id="6" name="Gerade Verbindung 8">
            <a:extLst>
              <a:ext uri="{FF2B5EF4-FFF2-40B4-BE49-F238E27FC236}">
                <a16:creationId xmlns:a16="http://schemas.microsoft.com/office/drawing/2014/main" id="{C9104B42-D448-7A46-B612-1F7F3AF7FEDA}"/>
              </a:ext>
            </a:extLst>
          </p:cNvPr>
          <p:cNvCxnSpPr>
            <a:cxnSpLocks/>
          </p:cNvCxnSpPr>
          <p:nvPr userDrawn="1"/>
        </p:nvCxnSpPr>
        <p:spPr>
          <a:xfrm>
            <a:off x="4223238" y="-1"/>
            <a:ext cx="0" cy="646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0B355FB2-6065-9F49-BEC9-84922FFAB52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cxnSp>
        <p:nvCxnSpPr>
          <p:cNvPr id="21" name="Gerader Verbinder 16">
            <a:extLst>
              <a:ext uri="{FF2B5EF4-FFF2-40B4-BE49-F238E27FC236}">
                <a16:creationId xmlns:a16="http://schemas.microsoft.com/office/drawing/2014/main" id="{A78882B6-3455-4341-AD7B-5276BCD3D7AD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2">
            <a:extLst>
              <a:ext uri="{FF2B5EF4-FFF2-40B4-BE49-F238E27FC236}">
                <a16:creationId xmlns:a16="http://schemas.microsoft.com/office/drawing/2014/main" id="{02DA6CDE-7ED0-BC42-A5FA-AFAAAB3E13E6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510D0A4C-3FBA-804C-9CE8-5E2CFA16A7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  <a:endParaRPr lang="de-DE" b="1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161B5E4-606F-CA41-BBEC-F93C49D85F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888" y="1763713"/>
            <a:ext cx="3586785" cy="4437062"/>
          </a:xfrm>
        </p:spPr>
        <p:txBody>
          <a:bodyPr r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BEEE67C0-95B0-4E4B-821F-57755B6580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783" y="365539"/>
            <a:ext cx="3588890" cy="124650"/>
          </a:xfrm>
        </p:spPr>
        <p:txBody>
          <a:bodyPr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Please delete if not used]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FB1BA58A-66DF-DE4E-B6D9-935EF8B726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9" y="555464"/>
            <a:ext cx="3764779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E6FE1C8C-517B-5940-9887-B73D4B94A3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9" y="1039043"/>
            <a:ext cx="3764779" cy="307777"/>
          </a:xfr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269512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Text Content 1/2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1AC6592E-525F-6445-8101-292B367AC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888" y="1763713"/>
            <a:ext cx="5273888" cy="44370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0762ACD0-6CFF-6945-B453-BF9FD3CF6AC3}"/>
              </a:ext>
            </a:extLst>
          </p:cNvPr>
          <p:cNvCxnSpPr>
            <a:cxnSpLocks/>
          </p:cNvCxnSpPr>
          <p:nvPr userDrawn="1"/>
        </p:nvCxnSpPr>
        <p:spPr>
          <a:xfrm>
            <a:off x="6093213" y="0"/>
            <a:ext cx="0" cy="6469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3651B028-EE6A-4C4D-A273-452CFDDCC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CA7B17E3-7A59-0344-B7E3-6FAD0FFF44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5274177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22C6F52-4B86-4D48-9BDB-2E37C5A964D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381" y="6220275"/>
            <a:ext cx="5550054" cy="21544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700"/>
            </a:lvl1pPr>
            <a:lvl2pPr marL="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/>
              <a:t>Fußnote: 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4398849-F03D-6441-83CB-E610407022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5613525" cy="461665"/>
          </a:xfrm>
        </p:spPr>
        <p:txBody>
          <a:bodyPr/>
          <a:lstStyle>
            <a:lvl1pPr>
              <a:defRPr b="1" i="0">
                <a:latin typeface="Bandeins Strange" pitchFamily="2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0525AA5F-1A19-1D40-8A3D-BE169AD6DAD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07609" y="7567"/>
            <a:ext cx="6081216" cy="6455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7D57854-645A-C64C-A071-BCD64DED2E3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cxnSp>
        <p:nvCxnSpPr>
          <p:cNvPr id="21" name="Gerader Verbinder 16">
            <a:extLst>
              <a:ext uri="{FF2B5EF4-FFF2-40B4-BE49-F238E27FC236}">
                <a16:creationId xmlns:a16="http://schemas.microsoft.com/office/drawing/2014/main" id="{3666DADE-0D62-F946-B47F-F3CB27FEC808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2">
            <a:extLst>
              <a:ext uri="{FF2B5EF4-FFF2-40B4-BE49-F238E27FC236}">
                <a16:creationId xmlns:a16="http://schemas.microsoft.com/office/drawing/2014/main" id="{55FD76AD-C768-C14B-9A41-A3C222370A0F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CC67F93C-AAD9-6145-9E51-3E0383C921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17591332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Text Content 1/3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9A20FEA4-2E2E-F446-AAB9-B4771ECD76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888" y="1763713"/>
            <a:ext cx="7477502" cy="4437062"/>
          </a:xfrm>
          <a:prstGeom prst="rect">
            <a:avLst/>
          </a:prstGeom>
        </p:spPr>
        <p:txBody>
          <a:bodyPr r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CEFFA14C-2457-B04E-BDA5-9675E1AA0A0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979122" y="0"/>
            <a:ext cx="4209703" cy="6459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Hier können Bilder/Diagramme oder     Icons platziert werden</a:t>
            </a:r>
          </a:p>
          <a:p>
            <a:pPr lvl="0"/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3E6FEA05-3678-5E41-B361-AA3411EBE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7484698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43F6144-4345-D148-A140-8544C6A8E2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7484698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2870DC7-BF76-0C48-85A9-0F72B548529B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cxnSp>
        <p:nvCxnSpPr>
          <p:cNvPr id="18" name="Gerader Verbinder 16">
            <a:extLst>
              <a:ext uri="{FF2B5EF4-FFF2-40B4-BE49-F238E27FC236}">
                <a16:creationId xmlns:a16="http://schemas.microsoft.com/office/drawing/2014/main" id="{20F488C5-9F27-0848-93B9-2633ADFFA945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1B64988D-FF46-E644-AD89-DC9FA58CA1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 sz="900">
                <a:solidFill>
                  <a:srgbClr val="000000"/>
                </a:solidFill>
                <a:latin typeface="Sen ExtraBold" pitchFamily="2" charset="0"/>
              </a:rPr>
              <a:t>Exxeta x OTTO | trade/off Summit | Heidelberg</a:t>
            </a:r>
            <a:endParaRPr lang="de-DE" sz="900" b="1">
              <a:solidFill>
                <a:srgbClr val="000000"/>
              </a:solidFill>
              <a:latin typeface="Sen ExtraBold" pitchFamily="2" charset="0"/>
            </a:endParaRPr>
          </a:p>
        </p:txBody>
      </p:sp>
      <p:sp>
        <p:nvSpPr>
          <p:cNvPr id="20" name="Rechteck 12">
            <a:extLst>
              <a:ext uri="{FF2B5EF4-FFF2-40B4-BE49-F238E27FC236}">
                <a16:creationId xmlns:a16="http://schemas.microsoft.com/office/drawing/2014/main" id="{4D4C9824-D908-854A-9812-4CC331276439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EF362D22-68A3-0B45-BD4D-42C744729A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cxnSp>
        <p:nvCxnSpPr>
          <p:cNvPr id="14" name="Gerade Verbindung 8">
            <a:extLst>
              <a:ext uri="{FF2B5EF4-FFF2-40B4-BE49-F238E27FC236}">
                <a16:creationId xmlns:a16="http://schemas.microsoft.com/office/drawing/2014/main" id="{9C8FA1F3-6630-5342-81F4-83B1AD5EB363}"/>
              </a:ext>
            </a:extLst>
          </p:cNvPr>
          <p:cNvCxnSpPr>
            <a:cxnSpLocks/>
          </p:cNvCxnSpPr>
          <p:nvPr userDrawn="1"/>
        </p:nvCxnSpPr>
        <p:spPr>
          <a:xfrm>
            <a:off x="7964725" y="0"/>
            <a:ext cx="0" cy="6469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5406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7">
            <a:extLst>
              <a:ext uri="{FF2B5EF4-FFF2-40B4-BE49-F238E27FC236}">
                <a16:creationId xmlns:a16="http://schemas.microsoft.com/office/drawing/2014/main" id="{4F83A681-1EA2-0847-9663-CF5330137A5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0" y="1"/>
            <a:ext cx="12182826" cy="6857999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Hier kann eine Illustration platziert werden</a:t>
            </a:r>
          </a:p>
        </p:txBody>
      </p:sp>
      <p:sp>
        <p:nvSpPr>
          <p:cNvPr id="3" name="Titel 5">
            <a:extLst>
              <a:ext uri="{FF2B5EF4-FFF2-40B4-BE49-F238E27FC236}">
                <a16:creationId xmlns:a16="http://schemas.microsoft.com/office/drawing/2014/main" id="{7A1C5BCE-13D3-49FD-B930-B4A9F09D83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5409" y="2967335"/>
            <a:ext cx="538002" cy="923330"/>
          </a:xfrm>
          <a:prstGeom prst="rect">
            <a:avLst/>
          </a:prstGeom>
          <a:solidFill>
            <a:schemeClr val="accent1"/>
          </a:solidFill>
        </p:spPr>
        <p:txBody>
          <a:bodyPr wrap="none" lIns="72000" rIns="72000">
            <a:spAutoFit/>
          </a:bodyPr>
          <a:lstStyle>
            <a:lvl1pPr algn="ctr">
              <a:defRPr sz="5998">
                <a:solidFill>
                  <a:schemeClr val="bg1"/>
                </a:solidFill>
                <a:latin typeface="Bandeins Strange Bold Extd Half" panose="00000500000000000000" pitchFamily="50" charset="0"/>
              </a:defRPr>
            </a:lvl1pPr>
          </a:lstStyle>
          <a:p>
            <a:r>
              <a:rPr lang="de-DE"/>
              <a:t>x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81347CF-B3D2-42CD-99AF-78540E596F70}"/>
              </a:ext>
            </a:extLst>
          </p:cNvPr>
          <p:cNvSpPr txBox="1"/>
          <p:nvPr userDrawn="1"/>
        </p:nvSpPr>
        <p:spPr>
          <a:xfrm>
            <a:off x="11115078" y="5536208"/>
            <a:ext cx="766563" cy="923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5998" b="1" i="0">
                <a:latin typeface="Bandeins Strange" pitchFamily="2" charset="0"/>
              </a:rPr>
              <a:t>→</a:t>
            </a:r>
            <a:endParaRPr lang="de-DE" sz="5998"/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BC30E195-1886-4A76-A0A9-84BF06AD16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8686" y="212038"/>
            <a:ext cx="5291452" cy="345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Kapitelnummer xx</a:t>
            </a:r>
          </a:p>
        </p:txBody>
      </p:sp>
    </p:spTree>
    <p:extLst>
      <p:ext uri="{BB962C8B-B14F-4D97-AF65-F5344CB8AC3E}">
        <p14:creationId xmlns:p14="http://schemas.microsoft.com/office/powerpoint/2010/main" val="66337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Invert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78788CF1-EBF0-43FE-97FE-92BED5B3BC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01" y="4982440"/>
            <a:ext cx="3742350" cy="58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Sen ExtraBold" pitchFamily="2" charset="0"/>
              </a:defRPr>
            </a:lvl1pPr>
            <a:lvl2pPr marL="457063" indent="0">
              <a:buNone/>
              <a:defRPr/>
            </a:lvl2pPr>
          </a:lstStyle>
          <a:p>
            <a:pPr lvl="0"/>
            <a:r>
              <a:rPr lang="de-DE"/>
              <a:t>Name Nachnam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DDB8B28-4F69-CC4A-81EE-6E003980D653}"/>
              </a:ext>
            </a:extLst>
          </p:cNvPr>
          <p:cNvSpPr txBox="1"/>
          <p:nvPr userDrawn="1"/>
        </p:nvSpPr>
        <p:spPr>
          <a:xfrm>
            <a:off x="9737365" y="6698751"/>
            <a:ext cx="0" cy="0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none" lIns="467878" tIns="0" rIns="0" bIns="0" rtlCol="0" anchor="t" anchorCtr="0">
            <a:noAutofit/>
          </a:bodyPr>
          <a:lstStyle/>
          <a:p>
            <a:pPr algn="l">
              <a:lnSpc>
                <a:spcPts val="1200"/>
              </a:lnSpc>
            </a:pPr>
            <a:endParaRPr lang="de-DE" sz="900" b="0" i="0">
              <a:solidFill>
                <a:srgbClr val="000000"/>
              </a:solidFill>
              <a:latin typeface="Sen ExtraBold" pitchFamily="2" charset="0"/>
            </a:endParaRP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178F9138-F0B7-634B-80EE-03F5D1B08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873" y="549275"/>
            <a:ext cx="11228637" cy="2559574"/>
          </a:xfrm>
        </p:spPr>
        <p:txBody>
          <a:bodyPr/>
          <a:lstStyle>
            <a:lvl1pPr>
              <a:defRPr sz="8797" b="1" i="0">
                <a:solidFill>
                  <a:schemeClr val="bg1"/>
                </a:solidFill>
                <a:latin typeface="Bandeins Strange Bold Extd Half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803D37CE-24AB-C349-9C9F-F4CE23763F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64" y="3765886"/>
            <a:ext cx="3742350" cy="5832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200"/>
              </a:lnSpc>
              <a:buNone/>
              <a:defRPr b="0" i="0">
                <a:solidFill>
                  <a:schemeClr val="bg1"/>
                </a:solidFill>
                <a:latin typeface="Sen ExtraBold" pitchFamily="2" charset="0"/>
              </a:defRPr>
            </a:lvl1pPr>
            <a:lvl2pPr marL="457063" indent="0">
              <a:buNone/>
              <a:defRPr/>
            </a:lvl2pPr>
          </a:lstStyle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Hier könnte das Logo </a:t>
            </a:r>
          </a:p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platziert werde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B6320EC8-7434-324D-B829-A8A07613B5F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88825" cy="6858000"/>
          </a:xfrm>
          <a:prstGeom prst="rect">
            <a:avLst/>
          </a:prstGeom>
        </p:spPr>
        <p:txBody>
          <a:bodyPr anchor="ctr" anchorCtr="0"/>
          <a:lstStyle>
            <a:lvl1pPr>
              <a:defRPr sz="1799" b="0" i="0">
                <a:latin typeface="Sen ExtraBold" pitchFamily="2" charset="0"/>
              </a:defRPr>
            </a:lvl1pPr>
          </a:lstStyle>
          <a:p>
            <a:r>
              <a:rPr lang="de-DE"/>
              <a:t>Bild über Klick auf Icon hinzufügen und anschließend über Rechtsklick in den Hintergrund setzen 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158BF3BA-C27A-2F45-9AE7-9AE9267535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888" y="6198994"/>
            <a:ext cx="1281266" cy="260544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0">
                <a:noFill/>
                <a:latin typeface="Sen ExtraBold" pitchFamily="2" charset="0"/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88794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9BDC94DA-96EF-4879-9E97-34327D1E7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118" y="694945"/>
            <a:ext cx="5274177" cy="5424867"/>
          </a:xfrm>
          <a:prstGeom prst="rect">
            <a:avLst/>
          </a:prstGeom>
        </p:spPr>
        <p:txBody>
          <a:bodyPr anchor="ctr" anchorCtr="0"/>
          <a:lstStyle>
            <a:lvl1pPr algn="ctr">
              <a:defRPr sz="5998"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Chapter</a:t>
            </a:r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2F9BF9EC-6DAE-4305-9906-13DFBE688E2A}"/>
              </a:ext>
            </a:extLst>
          </p:cNvPr>
          <p:cNvCxnSpPr>
            <a:cxnSpLocks/>
          </p:cNvCxnSpPr>
          <p:nvPr userDrawn="1"/>
        </p:nvCxnSpPr>
        <p:spPr>
          <a:xfrm>
            <a:off x="6094413" y="0"/>
            <a:ext cx="0" cy="685799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76D434A-C59D-495D-B6ED-EECFE6DD14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1479" y="202359"/>
            <a:ext cx="5291452" cy="345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Kapitelnummer xx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7CF3C29-58E0-7B49-A0D1-1AB057787EE2}"/>
              </a:ext>
            </a:extLst>
          </p:cNvPr>
          <p:cNvSpPr txBox="1"/>
          <p:nvPr userDrawn="1"/>
        </p:nvSpPr>
        <p:spPr>
          <a:xfrm>
            <a:off x="11115078" y="5536208"/>
            <a:ext cx="766563" cy="923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5998" b="1" i="0">
                <a:latin typeface="Bandeins Strange" pitchFamily="2" charset="0"/>
              </a:rPr>
              <a:t>→</a:t>
            </a:r>
            <a:endParaRPr lang="de-DE" sz="5998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E05A50E5-BDA9-2D40-9066-1BA8F86EBE9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07609" y="7566"/>
            <a:ext cx="6081216" cy="68504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59430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Al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6">
            <a:extLst>
              <a:ext uri="{FF2B5EF4-FFF2-40B4-BE49-F238E27FC236}">
                <a16:creationId xmlns:a16="http://schemas.microsoft.com/office/drawing/2014/main" id="{2AC61314-1D17-4530-B95B-C89FBF9F1D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12" y="3046405"/>
            <a:ext cx="6094413" cy="723275"/>
          </a:xfrm>
          <a:prstGeom prst="rect">
            <a:avLst/>
          </a:prstGeom>
        </p:spPr>
        <p:txBody>
          <a:bodyPr anchor="ctr"/>
          <a:lstStyle>
            <a:lvl1pPr algn="ctr">
              <a:defRPr sz="4399" b="1" cap="all" baseline="0">
                <a:effectLst>
                  <a:outerShdw blurRad="635000" algn="tl">
                    <a:srgbClr val="000000">
                      <a:alpha val="50000"/>
                    </a:srgbClr>
                  </a:outerShdw>
                </a:effectLst>
                <a:latin typeface="Bandeins Strange Bold Extd Half" panose="00000500000000000000" pitchFamily="50" charset="0"/>
              </a:defRPr>
            </a:lvl1pPr>
            <a:lvl2pPr marL="0" indent="0">
              <a:buNone/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3pPr>
            <a:lvl4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89EE909E-1F40-4794-A7E7-59DD326BC7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62477" y="2981871"/>
            <a:ext cx="863871" cy="85234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635000" algn="tl" rotWithShape="0">
              <a:prstClr val="black">
                <a:alpha val="50000"/>
              </a:prstClr>
            </a:outerShdw>
          </a:effectLst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7" name="Textplatzhalter 26">
            <a:extLst>
              <a:ext uri="{FF2B5EF4-FFF2-40B4-BE49-F238E27FC236}">
                <a16:creationId xmlns:a16="http://schemas.microsoft.com/office/drawing/2014/main" id="{AB545C8E-8DBC-4296-B80D-88E0CC876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2649" y="3046405"/>
            <a:ext cx="6094413" cy="723275"/>
          </a:xfrm>
          <a:prstGeom prst="rect">
            <a:avLst/>
          </a:prstGeom>
        </p:spPr>
        <p:txBody>
          <a:bodyPr anchor="ctr"/>
          <a:lstStyle>
            <a:lvl1pPr algn="ctr">
              <a:defRPr sz="4399" b="1" cap="all" baseline="0">
                <a:effectLst>
                  <a:outerShdw blurRad="635000" algn="tl">
                    <a:srgbClr val="000000">
                      <a:alpha val="50000"/>
                    </a:srgbClr>
                  </a:outerShdw>
                </a:effectLst>
                <a:latin typeface="Bandeins Strange Bold Extd Half" panose="00000500000000000000" pitchFamily="50" charset="0"/>
              </a:defRPr>
            </a:lvl1pPr>
            <a:lvl2pPr marL="0" indent="0">
              <a:buNone/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3pPr>
            <a:lvl4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3" name="Bildplatzhalter 6">
            <a:extLst>
              <a:ext uri="{FF2B5EF4-FFF2-40B4-BE49-F238E27FC236}">
                <a16:creationId xmlns:a16="http://schemas.microsoft.com/office/drawing/2014/main" id="{B17F689D-5A48-46D3-92A1-654983BBF9A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4412" y="0"/>
            <a:ext cx="6094413" cy="6858000"/>
          </a:xfrm>
          <a:prstGeom prst="rect">
            <a:avLst/>
          </a:prstGeom>
        </p:spPr>
        <p:txBody>
          <a:bodyPr anchor="ctr" anchorCtr="0"/>
          <a:lstStyle>
            <a:lvl1pPr>
              <a:defRPr sz="1799"/>
            </a:lvl1pPr>
          </a:lstStyle>
          <a:p>
            <a:r>
              <a:rPr lang="de-DE"/>
              <a:t>Bild über Klick auf Icon hinzufügen und anschließend über Rechtsklick in den Hintergrund setzen </a:t>
            </a:r>
          </a:p>
        </p:txBody>
      </p:sp>
      <p:sp>
        <p:nvSpPr>
          <p:cNvPr id="4" name="Bildplatzhalter 6">
            <a:extLst>
              <a:ext uri="{FF2B5EF4-FFF2-40B4-BE49-F238E27FC236}">
                <a16:creationId xmlns:a16="http://schemas.microsoft.com/office/drawing/2014/main" id="{932091A3-71E3-4CCA-8625-C1582E5552E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4412" cy="6858000"/>
          </a:xfrm>
          <a:prstGeom prst="rect">
            <a:avLst/>
          </a:prstGeom>
        </p:spPr>
        <p:txBody>
          <a:bodyPr anchor="ctr" anchorCtr="0"/>
          <a:lstStyle>
            <a:lvl1pPr>
              <a:defRPr sz="1799"/>
            </a:lvl1pPr>
          </a:lstStyle>
          <a:p>
            <a:r>
              <a:rPr lang="de-DE"/>
              <a:t>Bild über Klick auf Icon hinzufügen und anschließend über Rechtsklick in den Hintergrund setzen  </a:t>
            </a:r>
          </a:p>
        </p:txBody>
      </p:sp>
    </p:spTree>
    <p:extLst>
      <p:ext uri="{BB962C8B-B14F-4D97-AF65-F5344CB8AC3E}">
        <p14:creationId xmlns:p14="http://schemas.microsoft.com/office/powerpoint/2010/main" val="37566998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ider Alt 3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6">
            <a:extLst>
              <a:ext uri="{FF2B5EF4-FFF2-40B4-BE49-F238E27FC236}">
                <a16:creationId xmlns:a16="http://schemas.microsoft.com/office/drawing/2014/main" id="{2AC61314-1D17-4530-B95B-C89FBF9F1D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12" y="3046405"/>
            <a:ext cx="6094413" cy="723275"/>
          </a:xfrm>
          <a:prstGeom prst="rect">
            <a:avLst/>
          </a:prstGeom>
        </p:spPr>
        <p:txBody>
          <a:bodyPr anchor="ctr"/>
          <a:lstStyle>
            <a:lvl1pPr algn="ctr">
              <a:defRPr sz="4399" b="1" cap="all" baseline="0">
                <a:solidFill>
                  <a:schemeClr val="bg1"/>
                </a:solidFill>
                <a:effectLst>
                  <a:outerShdw blurRad="635000" algn="tl">
                    <a:srgbClr val="000000">
                      <a:alpha val="50000"/>
                    </a:srgbClr>
                  </a:outerShdw>
                </a:effectLst>
                <a:latin typeface="Bandeins Strange Bold Extd Half" panose="00000500000000000000" pitchFamily="50" charset="0"/>
              </a:defRPr>
            </a:lvl1pPr>
            <a:lvl2pPr marL="0" indent="0">
              <a:buNone/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3pPr>
            <a:lvl4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7" name="Textplatzhalter 26">
            <a:extLst>
              <a:ext uri="{FF2B5EF4-FFF2-40B4-BE49-F238E27FC236}">
                <a16:creationId xmlns:a16="http://schemas.microsoft.com/office/drawing/2014/main" id="{AB545C8E-8DBC-4296-B80D-88E0CC876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2649" y="3046405"/>
            <a:ext cx="6094413" cy="723275"/>
          </a:xfrm>
          <a:prstGeom prst="rect">
            <a:avLst/>
          </a:prstGeom>
        </p:spPr>
        <p:txBody>
          <a:bodyPr anchor="ctr"/>
          <a:lstStyle>
            <a:lvl1pPr algn="ctr">
              <a:defRPr sz="4399" b="1" cap="all" baseline="0">
                <a:solidFill>
                  <a:schemeClr val="bg1"/>
                </a:solidFill>
                <a:effectLst>
                  <a:outerShdw blurRad="635000" algn="tl">
                    <a:srgbClr val="000000">
                      <a:alpha val="50000"/>
                    </a:srgbClr>
                  </a:outerShdw>
                </a:effectLst>
                <a:latin typeface="Bandeins Strange Bold Extd Half" panose="00000500000000000000" pitchFamily="50" charset="0"/>
              </a:defRPr>
            </a:lvl1pPr>
            <a:lvl2pPr marL="0" indent="0">
              <a:buNone/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3pPr>
            <a:lvl4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E98A9C7F-C131-D647-AB33-10FB5C0AF15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4412" y="0"/>
            <a:ext cx="6094413" cy="6858000"/>
          </a:xfrm>
          <a:prstGeom prst="rect">
            <a:avLst/>
          </a:prstGeom>
        </p:spPr>
        <p:txBody>
          <a:bodyPr anchor="ctr" anchorCtr="0"/>
          <a:lstStyle>
            <a:lvl1pPr>
              <a:defRPr sz="1799"/>
            </a:lvl1pPr>
          </a:lstStyle>
          <a:p>
            <a:r>
              <a:rPr lang="de-DE"/>
              <a:t>Bild über Klick auf Icon hinzufügen und anschließend über Rechtsklick in den Hintergrund setzen 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BA406AC2-C19F-7E44-8C27-17503BB426C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4412" cy="6858000"/>
          </a:xfrm>
          <a:prstGeom prst="rect">
            <a:avLst/>
          </a:prstGeom>
        </p:spPr>
        <p:txBody>
          <a:bodyPr anchor="ctr" anchorCtr="0"/>
          <a:lstStyle>
            <a:lvl1pPr>
              <a:defRPr sz="1799"/>
            </a:lvl1pPr>
          </a:lstStyle>
          <a:p>
            <a:r>
              <a:rPr lang="de-DE"/>
              <a:t>Bild über Klick auf Icon hinzufügen und anschließend über Rechtsklick in den Hintergrund setzen  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1BFB657-E8F4-A541-9B77-751926F110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59829" y="2981871"/>
            <a:ext cx="863871" cy="85234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  <a:effectLst>
            <a:outerShdw blurRad="635000" algn="tl" rotWithShape="0">
              <a:prstClr val="black">
                <a:alpha val="50000"/>
              </a:prstClr>
            </a:outerShdw>
          </a:effectLst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471798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le, Subtitel2, 2 Text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4CE12783-1062-42DC-B3A0-6BF2120907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7B0DC512-2D28-408B-885E-6CF6537AAF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888" y="2223366"/>
            <a:ext cx="5429276" cy="3968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45D09A3-9C11-47EF-BEBD-8E77DCCD3E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01" y="1763713"/>
            <a:ext cx="5429276" cy="312737"/>
          </a:xfrm>
          <a:prstGeom prst="rect">
            <a:avLst/>
          </a:prstGeom>
        </p:spPr>
        <p:txBody>
          <a:bodyPr anchor="t" anchorCtr="0"/>
          <a:lstStyle>
            <a:lvl1pPr>
              <a:defRPr sz="1799" b="1" i="0" cap="all" baseline="0">
                <a:latin typeface="Bandeins Strange" pitchFamily="2" charset="0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BA4BEE4C-13B5-44BF-BA15-DC66B5FEEE7B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0070" y="2231813"/>
            <a:ext cx="5429276" cy="3968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A5FBA67F-DCCF-4ACE-8C80-7BF71F0B54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0070" y="1764001"/>
            <a:ext cx="5429276" cy="312737"/>
          </a:xfrm>
          <a:prstGeom prst="rect">
            <a:avLst/>
          </a:prstGeom>
        </p:spPr>
        <p:txBody>
          <a:bodyPr anchor="t" anchorCtr="0"/>
          <a:lstStyle>
            <a:lvl1pPr>
              <a:defRPr sz="1799" b="1" i="0" cap="all" baseline="0">
                <a:latin typeface="Bandeins Strange" pitchFamily="2" charset="0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B0FBC8E6-AD0D-A64F-B262-AFDA56FD47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6971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7190CF2-0EBF-C04A-8CEE-39F68053712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9209B4D6-8689-AF48-B292-3F81EB44E4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13" name="Gerader Verbinder 16">
            <a:extLst>
              <a:ext uri="{FF2B5EF4-FFF2-40B4-BE49-F238E27FC236}">
                <a16:creationId xmlns:a16="http://schemas.microsoft.com/office/drawing/2014/main" id="{BE84DCBC-5239-2E42-AC85-139FA83B164E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2">
            <a:extLst>
              <a:ext uri="{FF2B5EF4-FFF2-40B4-BE49-F238E27FC236}">
                <a16:creationId xmlns:a16="http://schemas.microsoft.com/office/drawing/2014/main" id="{89F2B067-D868-864B-AD87-00B6A81BC389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4C57EF1D-5BEF-C742-8B4B-43CEBB1772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3481579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le, Subtitel2, 3 Text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9E42306F-5FFF-4908-969E-44480FED22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Please delete if not used]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C72234AC-02C3-4F02-8230-6B1A98F3094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80888" y="2223401"/>
            <a:ext cx="3502942" cy="39773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757ADAF6-8690-4DE3-A912-6AF11AFD62F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06583" y="2223401"/>
            <a:ext cx="3502942" cy="39773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53AA52BB-CB4F-4E26-8337-6FD8D8C8D1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43735" y="2223401"/>
            <a:ext cx="3502942" cy="39773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05DFF6A4-DBFB-49E1-AD31-1179F5F620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303" y="1763713"/>
            <a:ext cx="3504528" cy="312737"/>
          </a:xfrm>
          <a:prstGeom prst="rect">
            <a:avLst/>
          </a:prstGeom>
        </p:spPr>
        <p:txBody>
          <a:bodyPr anchor="t" anchorCtr="0"/>
          <a:lstStyle>
            <a:lvl1pPr>
              <a:defRPr sz="1799" b="1" i="0" cap="all" baseline="0">
                <a:latin typeface="Bandeins Strange" pitchFamily="2" charset="0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BB6EDACB-9F31-48A3-A128-2277796B3D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3735" y="1764001"/>
            <a:ext cx="3502942" cy="312737"/>
          </a:xfrm>
          <a:prstGeom prst="rect">
            <a:avLst/>
          </a:prstGeom>
        </p:spPr>
        <p:txBody>
          <a:bodyPr anchor="t" anchorCtr="0"/>
          <a:lstStyle>
            <a:lvl1pPr>
              <a:defRPr sz="1799" b="1" i="0" cap="all" baseline="0">
                <a:latin typeface="Bandeins Strange" pitchFamily="2" charset="0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16583AC3-39D1-4AAC-95CA-872DEC425E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6583" y="1764001"/>
            <a:ext cx="3502942" cy="312737"/>
          </a:xfrm>
          <a:prstGeom prst="rect">
            <a:avLst/>
          </a:prstGeom>
        </p:spPr>
        <p:txBody>
          <a:bodyPr anchor="t" anchorCtr="0"/>
          <a:lstStyle>
            <a:lvl1pPr>
              <a:defRPr sz="1799" b="1" i="0" cap="all" baseline="0">
                <a:latin typeface="Bandeins Strange" pitchFamily="2" charset="0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6D3F957D-5835-2E4D-B51A-55F94D43F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8637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FCC709-5F1F-6341-93B5-B5B02EFC850E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29EE8512-0353-A74E-A3E9-ED27BB6A5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23" name="Gerader Verbinder 16">
            <a:extLst>
              <a:ext uri="{FF2B5EF4-FFF2-40B4-BE49-F238E27FC236}">
                <a16:creationId xmlns:a16="http://schemas.microsoft.com/office/drawing/2014/main" id="{514D7062-9DD5-2D47-872F-35713791AD09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12">
            <a:extLst>
              <a:ext uri="{FF2B5EF4-FFF2-40B4-BE49-F238E27FC236}">
                <a16:creationId xmlns:a16="http://schemas.microsoft.com/office/drawing/2014/main" id="{B90641F5-4EAF-314B-AA21-C9494A5C5776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5A2E79E0-E113-974D-8BCB-A718746D76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17993737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ntent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9E42306F-5FFF-4908-969E-44480FED22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Please delete if not used]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E1BFF2C-346A-46B5-8604-759A9D0C4D91}"/>
              </a:ext>
            </a:extLst>
          </p:cNvPr>
          <p:cNvGrpSpPr/>
          <p:nvPr/>
        </p:nvGrpSpPr>
        <p:grpSpPr>
          <a:xfrm>
            <a:off x="508962" y="1790907"/>
            <a:ext cx="3239156" cy="4127348"/>
            <a:chOff x="515357" y="1809696"/>
            <a:chExt cx="3240000" cy="4127348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6D62668B-BFF5-466B-8AC7-A5A50E01E9C5}"/>
                </a:ext>
              </a:extLst>
            </p:cNvPr>
            <p:cNvGrpSpPr/>
            <p:nvPr/>
          </p:nvGrpSpPr>
          <p:grpSpPr>
            <a:xfrm>
              <a:off x="3406509" y="1984682"/>
              <a:ext cx="180000" cy="180000"/>
              <a:chOff x="3886200" y="1323458"/>
              <a:chExt cx="176972" cy="176972"/>
            </a:xfrm>
          </p:grpSpPr>
          <p:cxnSp>
            <p:nvCxnSpPr>
              <p:cNvPr id="18" name="Gerade Verbindung 8">
                <a:extLst>
                  <a:ext uri="{FF2B5EF4-FFF2-40B4-BE49-F238E27FC236}">
                    <a16:creationId xmlns:a16="http://schemas.microsoft.com/office/drawing/2014/main" id="{B718DE2A-69E2-418C-906A-DFBD41F803CD}"/>
                  </a:ext>
                </a:extLst>
              </p:cNvPr>
              <p:cNvCxnSpPr/>
              <p:nvPr/>
            </p:nvCxnSpPr>
            <p:spPr>
              <a:xfrm>
                <a:off x="3886200" y="1323458"/>
                <a:ext cx="176972" cy="176972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0">
                <a:extLst>
                  <a:ext uri="{FF2B5EF4-FFF2-40B4-BE49-F238E27FC236}">
                    <a16:creationId xmlns:a16="http://schemas.microsoft.com/office/drawing/2014/main" id="{5905856F-5D8F-4896-9108-BA52639016C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886200" y="1323458"/>
                <a:ext cx="176972" cy="176972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41A421A1-C309-4481-B9F0-5E3B505A4B9D}"/>
                </a:ext>
              </a:extLst>
            </p:cNvPr>
            <p:cNvGrpSpPr/>
            <p:nvPr/>
          </p:nvGrpSpPr>
          <p:grpSpPr>
            <a:xfrm>
              <a:off x="515357" y="1809696"/>
              <a:ext cx="3240000" cy="4127348"/>
              <a:chOff x="515357" y="2043027"/>
              <a:chExt cx="3060000" cy="3668486"/>
            </a:xfrm>
          </p:grpSpPr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A8DE9085-2758-4A14-9194-3CAB00981148}"/>
                  </a:ext>
                </a:extLst>
              </p:cNvPr>
              <p:cNvSpPr/>
              <p:nvPr/>
            </p:nvSpPr>
            <p:spPr>
              <a:xfrm>
                <a:off x="515357" y="2043027"/>
                <a:ext cx="3060000" cy="3668486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n ExtraBold" pitchFamily="2" charset="0"/>
                  <a:ea typeface="+mn-ea"/>
                  <a:cs typeface="+mn-cs"/>
                </a:endParaRPr>
              </a:p>
            </p:txBody>
          </p:sp>
          <p:cxnSp>
            <p:nvCxnSpPr>
              <p:cNvPr id="16" name="Gerade Verbindung 6">
                <a:extLst>
                  <a:ext uri="{FF2B5EF4-FFF2-40B4-BE49-F238E27FC236}">
                    <a16:creationId xmlns:a16="http://schemas.microsoft.com/office/drawing/2014/main" id="{51B7C891-FBAA-45AC-A4AF-B79E0B9D93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5357" y="2510134"/>
                <a:ext cx="306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A89CA16-BF9E-418A-9D34-E8BCB8CD73FC}"/>
              </a:ext>
            </a:extLst>
          </p:cNvPr>
          <p:cNvGrpSpPr/>
          <p:nvPr/>
        </p:nvGrpSpPr>
        <p:grpSpPr>
          <a:xfrm>
            <a:off x="8453230" y="1790907"/>
            <a:ext cx="3239156" cy="4127348"/>
            <a:chOff x="515357" y="1809696"/>
            <a:chExt cx="3240000" cy="4127348"/>
          </a:xfrm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F278B3A0-674D-47AC-B9BD-2287789ACBC9}"/>
                </a:ext>
              </a:extLst>
            </p:cNvPr>
            <p:cNvGrpSpPr/>
            <p:nvPr/>
          </p:nvGrpSpPr>
          <p:grpSpPr>
            <a:xfrm>
              <a:off x="3406509" y="1984682"/>
              <a:ext cx="180000" cy="180000"/>
              <a:chOff x="3886200" y="1323458"/>
              <a:chExt cx="176972" cy="176972"/>
            </a:xfrm>
          </p:grpSpPr>
          <p:cxnSp>
            <p:nvCxnSpPr>
              <p:cNvPr id="25" name="Gerade Verbindung 8">
                <a:extLst>
                  <a:ext uri="{FF2B5EF4-FFF2-40B4-BE49-F238E27FC236}">
                    <a16:creationId xmlns:a16="http://schemas.microsoft.com/office/drawing/2014/main" id="{92F54599-60EF-42CD-910E-30B1A4E985AF}"/>
                  </a:ext>
                </a:extLst>
              </p:cNvPr>
              <p:cNvCxnSpPr/>
              <p:nvPr/>
            </p:nvCxnSpPr>
            <p:spPr>
              <a:xfrm>
                <a:off x="3886200" y="1323458"/>
                <a:ext cx="176972" cy="176972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10">
                <a:extLst>
                  <a:ext uri="{FF2B5EF4-FFF2-40B4-BE49-F238E27FC236}">
                    <a16:creationId xmlns:a16="http://schemas.microsoft.com/office/drawing/2014/main" id="{DC79002A-C234-433F-83E0-5131E11E079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886200" y="1323458"/>
                <a:ext cx="176972" cy="176972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AF001CE6-59D0-4AF3-9A1E-993E6E859B30}"/>
                </a:ext>
              </a:extLst>
            </p:cNvPr>
            <p:cNvGrpSpPr/>
            <p:nvPr/>
          </p:nvGrpSpPr>
          <p:grpSpPr>
            <a:xfrm>
              <a:off x="515357" y="1809696"/>
              <a:ext cx="3240000" cy="4127348"/>
              <a:chOff x="515357" y="2043027"/>
              <a:chExt cx="3060000" cy="3668486"/>
            </a:xfrm>
          </p:grpSpPr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5443783B-7C21-43C2-B21C-E7465C0D8E99}"/>
                  </a:ext>
                </a:extLst>
              </p:cNvPr>
              <p:cNvSpPr/>
              <p:nvPr/>
            </p:nvSpPr>
            <p:spPr>
              <a:xfrm>
                <a:off x="515357" y="2043027"/>
                <a:ext cx="3060000" cy="3668486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n ExtraBold" pitchFamily="2" charset="0"/>
                  <a:ea typeface="+mn-ea"/>
                  <a:cs typeface="+mn-cs"/>
                </a:endParaRPr>
              </a:p>
            </p:txBody>
          </p:sp>
          <p:cxnSp>
            <p:nvCxnSpPr>
              <p:cNvPr id="24" name="Gerade Verbindung 6">
                <a:extLst>
                  <a:ext uri="{FF2B5EF4-FFF2-40B4-BE49-F238E27FC236}">
                    <a16:creationId xmlns:a16="http://schemas.microsoft.com/office/drawing/2014/main" id="{A58B306C-58FB-451B-96BC-06859D6A83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5357" y="2510134"/>
                <a:ext cx="306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81E5A88-02BB-4B76-AE65-CB3395331616}"/>
              </a:ext>
            </a:extLst>
          </p:cNvPr>
          <p:cNvGrpSpPr/>
          <p:nvPr/>
        </p:nvGrpSpPr>
        <p:grpSpPr>
          <a:xfrm>
            <a:off x="4474835" y="1790907"/>
            <a:ext cx="3239156" cy="4127348"/>
            <a:chOff x="515357" y="1809696"/>
            <a:chExt cx="3240000" cy="4127348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79698E20-F461-4205-80D6-F8FFB24CB5B9}"/>
                </a:ext>
              </a:extLst>
            </p:cNvPr>
            <p:cNvGrpSpPr/>
            <p:nvPr/>
          </p:nvGrpSpPr>
          <p:grpSpPr>
            <a:xfrm>
              <a:off x="3406509" y="1984682"/>
              <a:ext cx="180000" cy="180000"/>
              <a:chOff x="3886200" y="1323458"/>
              <a:chExt cx="176972" cy="176972"/>
            </a:xfrm>
          </p:grpSpPr>
          <p:cxnSp>
            <p:nvCxnSpPr>
              <p:cNvPr id="32" name="Gerade Verbindung 8">
                <a:extLst>
                  <a:ext uri="{FF2B5EF4-FFF2-40B4-BE49-F238E27FC236}">
                    <a16:creationId xmlns:a16="http://schemas.microsoft.com/office/drawing/2014/main" id="{CC6AED97-6304-49BC-8AA7-B258062F1F76}"/>
                  </a:ext>
                </a:extLst>
              </p:cNvPr>
              <p:cNvCxnSpPr/>
              <p:nvPr/>
            </p:nvCxnSpPr>
            <p:spPr>
              <a:xfrm>
                <a:off x="3886200" y="1323458"/>
                <a:ext cx="176972" cy="176972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10">
                <a:extLst>
                  <a:ext uri="{FF2B5EF4-FFF2-40B4-BE49-F238E27FC236}">
                    <a16:creationId xmlns:a16="http://schemas.microsoft.com/office/drawing/2014/main" id="{E2E895A2-D3FB-4AB4-AA94-08B1C266D29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886200" y="1323458"/>
                <a:ext cx="176972" cy="176972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C832AEAC-070F-4BD1-867B-5C7D3ED9E168}"/>
                </a:ext>
              </a:extLst>
            </p:cNvPr>
            <p:cNvGrpSpPr/>
            <p:nvPr/>
          </p:nvGrpSpPr>
          <p:grpSpPr>
            <a:xfrm>
              <a:off x="515357" y="1809696"/>
              <a:ext cx="3240000" cy="4127348"/>
              <a:chOff x="515357" y="2043027"/>
              <a:chExt cx="3060000" cy="3668486"/>
            </a:xfrm>
          </p:grpSpPr>
          <p:sp>
            <p:nvSpPr>
              <p:cNvPr id="30" name="Rechteck 29">
                <a:extLst>
                  <a:ext uri="{FF2B5EF4-FFF2-40B4-BE49-F238E27FC236}">
                    <a16:creationId xmlns:a16="http://schemas.microsoft.com/office/drawing/2014/main" id="{D7355818-53D2-49FA-8682-A9E952D5BD5D}"/>
                  </a:ext>
                </a:extLst>
              </p:cNvPr>
              <p:cNvSpPr/>
              <p:nvPr/>
            </p:nvSpPr>
            <p:spPr>
              <a:xfrm>
                <a:off x="515357" y="2043027"/>
                <a:ext cx="3060000" cy="3668486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n ExtraBold" pitchFamily="2" charset="0"/>
                  <a:ea typeface="+mn-ea"/>
                  <a:cs typeface="+mn-cs"/>
                </a:endParaRPr>
              </a:p>
            </p:txBody>
          </p:sp>
          <p:cxnSp>
            <p:nvCxnSpPr>
              <p:cNvPr id="31" name="Gerade Verbindung 6">
                <a:extLst>
                  <a:ext uri="{FF2B5EF4-FFF2-40B4-BE49-F238E27FC236}">
                    <a16:creationId xmlns:a16="http://schemas.microsoft.com/office/drawing/2014/main" id="{1D37B0D6-43DD-4636-A825-39FE606121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5357" y="2510134"/>
                <a:ext cx="306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B896D9B2-357F-4B45-A641-37D44B6D69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950" y="4288099"/>
            <a:ext cx="3149180" cy="1630362"/>
          </a:xfrm>
          <a:prstGeom prst="rect">
            <a:avLst/>
          </a:prstGeom>
        </p:spPr>
        <p:txBody>
          <a:bodyPr lIns="144000" rIns="144000"/>
          <a:lstStyle>
            <a:lvl1pPr algn="ctr"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Textplatzhalter 33">
            <a:extLst>
              <a:ext uri="{FF2B5EF4-FFF2-40B4-BE49-F238E27FC236}">
                <a16:creationId xmlns:a16="http://schemas.microsoft.com/office/drawing/2014/main" id="{E268B400-5BE4-46F7-A1F3-5CA337775E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19823" y="4288100"/>
            <a:ext cx="3149180" cy="1629673"/>
          </a:xfrm>
          <a:prstGeom prst="rect">
            <a:avLst/>
          </a:prstGeom>
        </p:spPr>
        <p:txBody>
          <a:bodyPr lIns="144000" rIns="144000"/>
          <a:lstStyle>
            <a:lvl1pPr algn="ctr"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33">
            <a:extLst>
              <a:ext uri="{FF2B5EF4-FFF2-40B4-BE49-F238E27FC236}">
                <a16:creationId xmlns:a16="http://schemas.microsoft.com/office/drawing/2014/main" id="{98078697-AEE4-40A0-91A2-0F3D1BB60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98218" y="4288099"/>
            <a:ext cx="3149180" cy="1630362"/>
          </a:xfrm>
          <a:prstGeom prst="rect">
            <a:avLst/>
          </a:prstGeom>
        </p:spPr>
        <p:txBody>
          <a:bodyPr lIns="144000" rIns="144000"/>
          <a:lstStyle>
            <a:lvl1pPr algn="ctr"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8C51F04D-3891-47E7-81A8-FEDD30EA486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52326" y="2486986"/>
            <a:ext cx="2153676" cy="16303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9" name="Bildplatzhalter 37">
            <a:extLst>
              <a:ext uri="{FF2B5EF4-FFF2-40B4-BE49-F238E27FC236}">
                <a16:creationId xmlns:a16="http://schemas.microsoft.com/office/drawing/2014/main" id="{0467871B-8F8F-4C5A-A1A8-C3C57E9F054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38955" y="2486986"/>
            <a:ext cx="2153676" cy="16303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0" name="Bildplatzhalter 37">
            <a:extLst>
              <a:ext uri="{FF2B5EF4-FFF2-40B4-BE49-F238E27FC236}">
                <a16:creationId xmlns:a16="http://schemas.microsoft.com/office/drawing/2014/main" id="{4148FBB0-2872-4732-B839-AAC72C9B023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74591" y="2486985"/>
            <a:ext cx="2153676" cy="16303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6731DFBA-76B9-6E4F-9519-BBA9C43ED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8637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082E9F09-1259-DC45-A8BB-97549E3DB537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45" name="Textplatzhalter 9">
            <a:extLst>
              <a:ext uri="{FF2B5EF4-FFF2-40B4-BE49-F238E27FC236}">
                <a16:creationId xmlns:a16="http://schemas.microsoft.com/office/drawing/2014/main" id="{5D822308-8C91-B54E-847D-18396257A0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48" name="Gerader Verbinder 16">
            <a:extLst>
              <a:ext uri="{FF2B5EF4-FFF2-40B4-BE49-F238E27FC236}">
                <a16:creationId xmlns:a16="http://schemas.microsoft.com/office/drawing/2014/main" id="{CD7AB421-F959-7943-87A8-500A4F6E451B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12">
            <a:extLst>
              <a:ext uri="{FF2B5EF4-FFF2-40B4-BE49-F238E27FC236}">
                <a16:creationId xmlns:a16="http://schemas.microsoft.com/office/drawing/2014/main" id="{9062DBD6-7DBF-D348-9D1A-226334E54E07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D4617B42-B59B-0A49-9E16-5F638C7967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394056827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AAC3FE32-1606-6B4C-96B3-D99635418F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68849" y="4223585"/>
            <a:ext cx="2233508" cy="152778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Adresse</a:t>
            </a:r>
          </a:p>
        </p:txBody>
      </p:sp>
      <p:sp>
        <p:nvSpPr>
          <p:cNvPr id="7" name="Inhaltsplatzhalter 17">
            <a:extLst>
              <a:ext uri="{FF2B5EF4-FFF2-40B4-BE49-F238E27FC236}">
                <a16:creationId xmlns:a16="http://schemas.microsoft.com/office/drawing/2014/main" id="{5EB591D2-557C-C446-A071-C2ED06DD283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80887" y="1763714"/>
            <a:ext cx="7299874" cy="31273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E19296C-9FC3-4545-A4C9-B3365E5BBA43}"/>
              </a:ext>
            </a:extLst>
          </p:cNvPr>
          <p:cNvSpPr txBox="1"/>
          <p:nvPr userDrawn="1"/>
        </p:nvSpPr>
        <p:spPr>
          <a:xfrm>
            <a:off x="8829678" y="1158875"/>
            <a:ext cx="2878181" cy="237923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lnSpc>
                <a:spcPts val="4800"/>
              </a:lnSpc>
              <a:spcBef>
                <a:spcPct val="0"/>
              </a:spcBef>
              <a:buNone/>
              <a:defRPr sz="4800" b="1" cap="all" baseline="0">
                <a:latin typeface="Bandeins Strange Bold Extd Half" panose="000005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de-DE" sz="4799" err="1"/>
              <a:t>Let‘s</a:t>
            </a:r>
            <a:r>
              <a:rPr lang="de-DE" sz="4799"/>
              <a:t> </a:t>
            </a:r>
            <a:r>
              <a:rPr lang="de-DE" sz="4799" err="1"/>
              <a:t>stay</a:t>
            </a:r>
            <a:r>
              <a:rPr lang="de-DE" sz="4799"/>
              <a:t> In Touch</a:t>
            </a:r>
          </a:p>
        </p:txBody>
      </p:sp>
      <p:sp>
        <p:nvSpPr>
          <p:cNvPr id="12" name="Textplatzhalter 16">
            <a:extLst>
              <a:ext uri="{FF2B5EF4-FFF2-40B4-BE49-F238E27FC236}">
                <a16:creationId xmlns:a16="http://schemas.microsoft.com/office/drawing/2014/main" id="{1FAE8423-D9BD-0843-A104-D483336E16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888" y="6198994"/>
            <a:ext cx="1279501" cy="260544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693264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xx1 –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xxeta x OTTO | trade/off Summit | Heidelber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7C3C3-FC1D-1049-A9A6-99071BD5D70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43496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/3 Text Content 1/3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1">
            <a:extLst>
              <a:ext uri="{FF2B5EF4-FFF2-40B4-BE49-F238E27FC236}">
                <a16:creationId xmlns:a16="http://schemas.microsoft.com/office/drawing/2014/main" id="{169259A0-A330-2745-B7D8-3909713F64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783" y="365539"/>
            <a:ext cx="3588890" cy="124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Please delete if not used]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CEFFA14C-2457-B04E-BDA5-9675E1AA0A0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965589" y="325785"/>
            <a:ext cx="4203578" cy="63972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Hier können Bilder/Diagramme oder     Icons platziert werden</a:t>
            </a:r>
          </a:p>
          <a:p>
            <a:pPr lvl="0"/>
            <a:endParaRPr lang="de-DE"/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C2BF10E8-81E8-6B46-B7DF-3ECBB6C4EA66}"/>
              </a:ext>
            </a:extLst>
          </p:cNvPr>
          <p:cNvCxnSpPr>
            <a:cxnSpLocks/>
          </p:cNvCxnSpPr>
          <p:nvPr userDrawn="1"/>
        </p:nvCxnSpPr>
        <p:spPr>
          <a:xfrm flipH="1">
            <a:off x="7957020" y="0"/>
            <a:ext cx="8568" cy="645953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>
            <a:extLst>
              <a:ext uri="{FF2B5EF4-FFF2-40B4-BE49-F238E27FC236}">
                <a16:creationId xmlns:a16="http://schemas.microsoft.com/office/drawing/2014/main" id="{3E6FEA05-3678-5E41-B361-AA3411EBE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7484698" cy="461665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/>
              <a:t>Tit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43F6144-4345-D148-A140-8544C6A8E2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7484698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2870DC7-BF76-0C48-85A9-0F72B54852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5729" y="6580212"/>
            <a:ext cx="703536" cy="142855"/>
          </a:xfrm>
          <a:prstGeom prst="rect">
            <a:avLst/>
          </a:prstGeom>
        </p:spPr>
      </p:pic>
      <p:cxnSp>
        <p:nvCxnSpPr>
          <p:cNvPr id="18" name="Gerader Verbinder 16">
            <a:extLst>
              <a:ext uri="{FF2B5EF4-FFF2-40B4-BE49-F238E27FC236}">
                <a16:creationId xmlns:a16="http://schemas.microsoft.com/office/drawing/2014/main" id="{20F488C5-9F27-0848-93B9-2633ADFFA945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1B64988D-FF46-E644-AD89-DC9FA58CA1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 sz="900">
                <a:solidFill>
                  <a:srgbClr val="000000"/>
                </a:solidFill>
                <a:latin typeface="Sen ExtraBold" pitchFamily="2" charset="0"/>
              </a:rPr>
              <a:t>Exxeta x OTTO | trade/off Summit | Heidelberg</a:t>
            </a:r>
            <a:endParaRPr lang="de-DE" sz="900" b="1">
              <a:solidFill>
                <a:srgbClr val="000000"/>
              </a:solidFill>
              <a:latin typeface="Sen ExtraBold" pitchFamily="2" charset="0"/>
            </a:endParaRPr>
          </a:p>
        </p:txBody>
      </p:sp>
      <p:sp>
        <p:nvSpPr>
          <p:cNvPr id="20" name="Rechteck 12">
            <a:extLst>
              <a:ext uri="{FF2B5EF4-FFF2-40B4-BE49-F238E27FC236}">
                <a16:creationId xmlns:a16="http://schemas.microsoft.com/office/drawing/2014/main" id="{4D4C9824-D908-854A-9812-4CC331276439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209B36-B9FF-4E35-8112-8364846B155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0888" y="1763713"/>
            <a:ext cx="7456133" cy="44370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886491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1">
            <a:extLst>
              <a:ext uri="{FF2B5EF4-FFF2-40B4-BE49-F238E27FC236}">
                <a16:creationId xmlns:a16="http://schemas.microsoft.com/office/drawing/2014/main" id="{E255202F-7BB2-EF4E-84BC-E7D92A2639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CC03B78-5F4B-C54B-A9BA-9BB15F39B7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380" y="6220275"/>
            <a:ext cx="11226971" cy="21544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700"/>
            </a:lvl1pPr>
            <a:lvl2pPr marL="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/>
              <a:t>Fußnote: 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3B75D204-0D9F-8B4F-91C9-831E6F3583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6971" cy="461665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/>
              <a:t>Titel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240812-7FD3-DA46-AC86-67C09861A7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5729" y="6580212"/>
            <a:ext cx="703536" cy="142855"/>
          </a:xfrm>
          <a:prstGeom prst="rect">
            <a:avLst/>
          </a:prstGeom>
        </p:spPr>
      </p:pic>
      <p:sp>
        <p:nvSpPr>
          <p:cNvPr id="8" name="Textplatzhalter 9">
            <a:extLst>
              <a:ext uri="{FF2B5EF4-FFF2-40B4-BE49-F238E27FC236}">
                <a16:creationId xmlns:a16="http://schemas.microsoft.com/office/drawing/2014/main" id="{EBC206A4-147C-644A-961C-DED22C57B1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14" name="Gerader Verbinder 16">
            <a:extLst>
              <a:ext uri="{FF2B5EF4-FFF2-40B4-BE49-F238E27FC236}">
                <a16:creationId xmlns:a16="http://schemas.microsoft.com/office/drawing/2014/main" id="{7433445D-8C43-464B-9EF4-131A98A0A0F3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2">
            <a:extLst>
              <a:ext uri="{FF2B5EF4-FFF2-40B4-BE49-F238E27FC236}">
                <a16:creationId xmlns:a16="http://schemas.microsoft.com/office/drawing/2014/main" id="{0A7D8329-EF18-0B4D-B512-C4B8F562F873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603E485-A509-7A49-B50F-66BD0F927C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  <a:endParaRPr lang="de-DE" b="1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10A917-01D4-AE4B-9CF6-AD74B9EBEE5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79300" y="1763713"/>
            <a:ext cx="11358779" cy="43021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05581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6">
            <a:extLst>
              <a:ext uri="{FF2B5EF4-FFF2-40B4-BE49-F238E27FC236}">
                <a16:creationId xmlns:a16="http://schemas.microsoft.com/office/drawing/2014/main" id="{2A01A151-4226-4D04-9454-D9F1480A36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888" y="6198994"/>
            <a:ext cx="1281266" cy="26054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0">
                <a:noFill/>
                <a:latin typeface="Sen ExtraBold" pitchFamily="2" charset="0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FF29BDC9-3AE5-47C6-ACBF-B100B19CD1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6082" y="549275"/>
            <a:ext cx="7479507" cy="299598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8797">
                <a:latin typeface="Bandeins Strange Bold Extd Half" panose="00000500000000000000" pitchFamily="50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AB69104A-3EBD-4426-A3A1-4336434F6D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01" y="4982440"/>
            <a:ext cx="3742350" cy="58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</a:lstStyle>
          <a:p>
            <a:pPr lvl="0"/>
            <a:r>
              <a:rPr lang="de-DE"/>
              <a:t>Name Nachname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1B0C0FE4-998A-4533-BFF2-DC473807C25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965589" y="0"/>
            <a:ext cx="4223237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platzhalter 18">
            <a:extLst>
              <a:ext uri="{FF2B5EF4-FFF2-40B4-BE49-F238E27FC236}">
                <a16:creationId xmlns:a16="http://schemas.microsoft.com/office/drawing/2014/main" id="{ADB0EEB4-DB0B-7649-BA0F-1FC49DD1A2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3764" y="3765886"/>
            <a:ext cx="3742350" cy="5832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200"/>
              </a:lnSpc>
              <a:buNone/>
              <a:defRPr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</a:lstStyle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Hier könnte das Logo </a:t>
            </a:r>
          </a:p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platziert werden</a:t>
            </a:r>
          </a:p>
        </p:txBody>
      </p:sp>
    </p:spTree>
    <p:extLst>
      <p:ext uri="{BB962C8B-B14F-4D97-AF65-F5344CB8AC3E}">
        <p14:creationId xmlns:p14="http://schemas.microsoft.com/office/powerpoint/2010/main" val="26055087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, Subtitle, Subtitel2, 2 Text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4CE12783-1062-42DC-B3A0-6BF2120907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45D09A3-9C11-47EF-BEBD-8E77DCCD3E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01" y="1763713"/>
            <a:ext cx="5429276" cy="312737"/>
          </a:xfrm>
          <a:prstGeom prst="rect">
            <a:avLst/>
          </a:prstGeom>
        </p:spPr>
        <p:txBody>
          <a:bodyPr anchor="t" anchorCtr="0"/>
          <a:lstStyle>
            <a:lvl1pPr>
              <a:defRPr sz="1799" b="1" cap="all" baseline="0">
                <a:latin typeface="+mj-lt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A5FBA67F-DCCF-4ACE-8C80-7BF71F0B54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0070" y="1772160"/>
            <a:ext cx="5429276" cy="312737"/>
          </a:xfrm>
          <a:prstGeom prst="rect">
            <a:avLst/>
          </a:prstGeom>
        </p:spPr>
        <p:txBody>
          <a:bodyPr anchor="t" anchorCtr="0"/>
          <a:lstStyle>
            <a:lvl1pPr>
              <a:defRPr sz="1799" b="1" cap="all" baseline="0">
                <a:latin typeface="+mj-lt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B0FBC8E6-AD0D-A64F-B262-AFDA56FD47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6971" cy="461665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/>
              <a:t>Titel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7190CF2-0EBF-C04A-8CEE-39F680537123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9209B4D6-8689-AF48-B292-3F81EB44E4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13" name="Gerader Verbinder 16">
            <a:extLst>
              <a:ext uri="{FF2B5EF4-FFF2-40B4-BE49-F238E27FC236}">
                <a16:creationId xmlns:a16="http://schemas.microsoft.com/office/drawing/2014/main" id="{BE84DCBC-5239-2E42-AC85-139FA83B164E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2">
            <a:extLst>
              <a:ext uri="{FF2B5EF4-FFF2-40B4-BE49-F238E27FC236}">
                <a16:creationId xmlns:a16="http://schemas.microsoft.com/office/drawing/2014/main" id="{89F2B067-D868-864B-AD87-00B6A81BC389}"/>
              </a:ext>
            </a:extLst>
          </p:cNvPr>
          <p:cNvSpPr/>
          <p:nvPr userDrawn="1"/>
        </p:nvSpPr>
        <p:spPr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4C57EF1D-5BEF-C742-8B4B-43CEBB1772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  <a:endParaRPr lang="de-DE" b="1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601A898-1930-4EDF-BBA7-FCA4A13B409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79300" y="2296800"/>
            <a:ext cx="5429424" cy="3873500"/>
          </a:xfrm>
        </p:spPr>
        <p:txBody>
          <a:bodyPr/>
          <a:lstStyle>
            <a:lvl6pPr marL="898255" indent="-179334">
              <a:tabLst/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Inhaltsplatzhalter 19">
            <a:extLst>
              <a:ext uri="{FF2B5EF4-FFF2-40B4-BE49-F238E27FC236}">
                <a16:creationId xmlns:a16="http://schemas.microsoft.com/office/drawing/2014/main" id="{A167F747-23E2-4AAF-B718-2209A843CA8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3121" y="2296800"/>
            <a:ext cx="5429424" cy="3873500"/>
          </a:xfrm>
        </p:spPr>
        <p:txBody>
          <a:bodyPr/>
          <a:lstStyle>
            <a:lvl6pPr marL="898255" indent="-179334">
              <a:tabLst/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295437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/2 Text Content 1/2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0762ACD0-6CFF-6945-B453-BF9FD3CF6AC3}"/>
              </a:ext>
            </a:extLst>
          </p:cNvPr>
          <p:cNvCxnSpPr>
            <a:cxnSpLocks/>
          </p:cNvCxnSpPr>
          <p:nvPr userDrawn="1"/>
        </p:nvCxnSpPr>
        <p:spPr>
          <a:xfrm>
            <a:off x="6094413" y="0"/>
            <a:ext cx="0" cy="645593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3651B028-EE6A-4C4D-A273-452CFDDCC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CA7B17E3-7A59-0344-B7E3-6FAD0FFF44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5274177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22C6F52-4B86-4D48-9BDB-2E37C5A964D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381" y="6220275"/>
            <a:ext cx="5550054" cy="21544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700"/>
            </a:lvl1pPr>
            <a:lvl2pPr marL="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/>
              <a:t>Fußnote: 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4398849-F03D-6441-83CB-E610407022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5613525" cy="461665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0525AA5F-1A19-1D40-8A3D-BE169AD6DAD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60776" y="7566"/>
            <a:ext cx="6094412" cy="6455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7D57854-645A-C64C-A071-BCD64DED2E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85729" y="6580212"/>
            <a:ext cx="703536" cy="142855"/>
          </a:xfrm>
          <a:prstGeom prst="rect">
            <a:avLst/>
          </a:prstGeom>
        </p:spPr>
      </p:pic>
      <p:cxnSp>
        <p:nvCxnSpPr>
          <p:cNvPr id="21" name="Gerader Verbinder 16">
            <a:extLst>
              <a:ext uri="{FF2B5EF4-FFF2-40B4-BE49-F238E27FC236}">
                <a16:creationId xmlns:a16="http://schemas.microsoft.com/office/drawing/2014/main" id="{3666DADE-0D62-F946-B47F-F3CB27FEC808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0E1C7D1-30A5-4961-B7B4-FCCDB675E7B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0888" y="1763713"/>
            <a:ext cx="5273888" cy="4437062"/>
          </a:xfrm>
        </p:spPr>
        <p:txBody>
          <a:bodyPr/>
          <a:lstStyle>
            <a:lvl6pPr marL="898255" indent="-179334">
              <a:tabLst/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3054501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>
            <a:extLst>
              <a:ext uri="{FF2B5EF4-FFF2-40B4-BE49-F238E27FC236}">
                <a16:creationId xmlns:a16="http://schemas.microsoft.com/office/drawing/2014/main" id="{A0FC40A5-FDA5-42A1-9E68-BE85A2C8FF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0888" y="6198994"/>
            <a:ext cx="1279501" cy="260544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DDB8B28-4F69-CC4A-81EE-6E003980D653}"/>
              </a:ext>
            </a:extLst>
          </p:cNvPr>
          <p:cNvSpPr txBox="1"/>
          <p:nvPr userDrawn="1"/>
        </p:nvSpPr>
        <p:spPr bwMode="gray">
          <a:xfrm>
            <a:off x="9737365" y="6698751"/>
            <a:ext cx="0" cy="0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none" lIns="467878" tIns="0" rIns="0" bIns="0" rtlCol="0" anchor="t" anchorCtr="0">
            <a:noAutofit/>
          </a:bodyPr>
          <a:lstStyle/>
          <a:p>
            <a:pPr algn="l">
              <a:lnSpc>
                <a:spcPts val="1200"/>
              </a:lnSpc>
            </a:pPr>
            <a:endParaRPr lang="de-DE" sz="900">
              <a:solidFill>
                <a:srgbClr val="000000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DF64693-73D1-564C-86F3-608DA7429414}"/>
              </a:ext>
            </a:extLst>
          </p:cNvPr>
          <p:cNvSpPr txBox="1"/>
          <p:nvPr userDrawn="1"/>
        </p:nvSpPr>
        <p:spPr bwMode="gray">
          <a:xfrm>
            <a:off x="996333" y="6616557"/>
            <a:ext cx="0" cy="0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none" lIns="467878" tIns="0" rIns="0" bIns="0" rtlCol="0" anchor="t" anchorCtr="0">
            <a:noAutofit/>
          </a:bodyPr>
          <a:lstStyle/>
          <a:p>
            <a:pPr algn="l">
              <a:lnSpc>
                <a:spcPts val="1200"/>
              </a:lnSpc>
            </a:pPr>
            <a:endParaRPr lang="de-DE" sz="900">
              <a:solidFill>
                <a:srgbClr val="000000"/>
              </a:solidFill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D165083A-F0ED-ABF4-D471-629CDEFDF2D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86082" y="565805"/>
            <a:ext cx="11223443" cy="27000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8797">
                <a:latin typeface="Bandeins Strange Bold Extd Half" panose="00000500000000000000" pitchFamily="50" charset="0"/>
              </a:defRPr>
            </a:lvl1pPr>
          </a:lstStyle>
          <a:p>
            <a:r>
              <a:rPr lang="de-DE"/>
              <a:t>Titel/title</a:t>
            </a:r>
          </a:p>
        </p:txBody>
      </p:sp>
      <p:sp>
        <p:nvSpPr>
          <p:cNvPr id="17" name="Textplatzhalter 18">
            <a:extLst>
              <a:ext uri="{FF2B5EF4-FFF2-40B4-BE49-F238E27FC236}">
                <a16:creationId xmlns:a16="http://schemas.microsoft.com/office/drawing/2014/main" id="{88E1A17A-55AB-2D59-7F07-5ACECCF761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6081" y="5011015"/>
            <a:ext cx="3627855" cy="583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/>
            </a:lvl1pPr>
            <a:lvl2pPr marL="457063" indent="0">
              <a:buNone/>
              <a:defRPr/>
            </a:lvl2pPr>
          </a:lstStyle>
          <a:p>
            <a:pPr lvl="0"/>
            <a:r>
              <a:rPr lang="de-DE"/>
              <a:t>Name Nachnam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EA30268-CDEF-F20A-1C76-45372BD93B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081" y="3789363"/>
            <a:ext cx="3629236" cy="576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Text oder Logoplatzhalter</a:t>
            </a:r>
          </a:p>
        </p:txBody>
      </p:sp>
    </p:spTree>
    <p:extLst>
      <p:ext uri="{BB962C8B-B14F-4D97-AF65-F5344CB8AC3E}">
        <p14:creationId xmlns:p14="http://schemas.microsoft.com/office/powerpoint/2010/main" val="36615285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3">
          <p15:clr>
            <a:srgbClr val="F26B43"/>
          </p15:clr>
        </p15:guide>
        <p15:guide id="2" orient="horz" pos="2387">
          <p15:clr>
            <a:srgbClr val="F26B43"/>
          </p15:clr>
        </p15:guide>
        <p15:guide id="3" orient="horz" pos="2750">
          <p15:clr>
            <a:srgbClr val="F26B43"/>
          </p15:clr>
        </p15:guide>
        <p15:guide id="4" orient="horz" pos="3521">
          <p15:clr>
            <a:srgbClr val="F26B43"/>
          </p15:clr>
        </p15:guide>
        <p15:guide id="5" orient="horz" pos="3158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with Imag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5">
            <a:extLst>
              <a:ext uri="{FF2B5EF4-FFF2-40B4-BE49-F238E27FC236}">
                <a16:creationId xmlns:a16="http://schemas.microsoft.com/office/drawing/2014/main" id="{E340BBA1-7B61-D2B1-ECF8-A57FF6F111E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1" y="0"/>
            <a:ext cx="12188824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über Klick auf Icon hinzufügen und anschließend über Rechtsklick in den Hintergrund setzen  </a:t>
            </a:r>
          </a:p>
        </p:txBody>
      </p:sp>
      <p:sp>
        <p:nvSpPr>
          <p:cNvPr id="3" name="Textplatzhalter 16">
            <a:extLst>
              <a:ext uri="{FF2B5EF4-FFF2-40B4-BE49-F238E27FC236}">
                <a16:creationId xmlns:a16="http://schemas.microsoft.com/office/drawing/2014/main" id="{2A01A151-4226-4D04-9454-D9F1480A36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0888" y="6198994"/>
            <a:ext cx="1281266" cy="26054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FF29BDC9-3AE5-47C6-ACBF-B100B19CD1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86081" y="565805"/>
            <a:ext cx="7478852" cy="2700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8797">
                <a:latin typeface="Bandeins Strange Bold Extd Half" panose="00000500000000000000" pitchFamily="50" charset="0"/>
              </a:defRPr>
            </a:lvl1pPr>
          </a:lstStyle>
          <a:p>
            <a:r>
              <a:rPr lang="de-DE"/>
              <a:t>Titel/title</a:t>
            </a: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AB69104A-3EBD-4426-A3A1-4336434F6D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6081" y="5011015"/>
            <a:ext cx="3627855" cy="583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  <a:lvl2pPr marL="457063" indent="0">
              <a:buNone/>
              <a:defRPr/>
            </a:lvl2pPr>
          </a:lstStyle>
          <a:p>
            <a:pPr lvl="0"/>
            <a:r>
              <a:rPr lang="de-DE"/>
              <a:t>Name Nachname</a:t>
            </a:r>
          </a:p>
        </p:txBody>
      </p:sp>
      <p:sp>
        <p:nvSpPr>
          <p:cNvPr id="6" name="Textplatzhalter 19">
            <a:extLst>
              <a:ext uri="{FF2B5EF4-FFF2-40B4-BE49-F238E27FC236}">
                <a16:creationId xmlns:a16="http://schemas.microsoft.com/office/drawing/2014/main" id="{C6A5F19E-0623-7FE0-B24B-34D86F5A80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081" y="3789363"/>
            <a:ext cx="3629236" cy="576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Text oder Logoplatzhalter</a:t>
            </a:r>
          </a:p>
        </p:txBody>
      </p:sp>
    </p:spTree>
    <p:extLst>
      <p:ext uri="{BB962C8B-B14F-4D97-AF65-F5344CB8AC3E}">
        <p14:creationId xmlns:p14="http://schemas.microsoft.com/office/powerpoint/2010/main" val="556135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19">
          <p15:clr>
            <a:srgbClr val="F26B43"/>
          </p15:clr>
        </p15:guide>
        <p15:guide id="2" pos="2593">
          <p15:clr>
            <a:srgbClr val="F26B43"/>
          </p15:clr>
        </p15:guide>
        <p15:guide id="3" orient="horz" pos="3521">
          <p15:clr>
            <a:srgbClr val="F26B43"/>
          </p15:clr>
        </p15:guide>
        <p15:guide id="4" orient="horz" pos="2750">
          <p15:clr>
            <a:srgbClr val="F26B43"/>
          </p15:clr>
        </p15:guide>
        <p15:guide id="5" orient="horz" pos="2387">
          <p15:clr>
            <a:srgbClr val="F26B43"/>
          </p15:clr>
        </p15:guide>
        <p15:guide id="6" orient="horz" pos="3158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inverted with Imag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EC393DE-98F0-6347-90F9-E71D87D19AE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1" y="0"/>
            <a:ext cx="12188824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über Klick auf Icon hinzufügen und anschließend über Rechtsklick in den Hintergrund setzen</a:t>
            </a:r>
          </a:p>
          <a:p>
            <a:r>
              <a:rPr lang="de-DE"/>
              <a:t>Click on Add </a:t>
            </a:r>
            <a:r>
              <a:rPr lang="de-DE" err="1"/>
              <a:t>icon</a:t>
            </a:r>
            <a:r>
              <a:rPr lang="de-DE"/>
              <a:t> and </a:t>
            </a:r>
            <a:r>
              <a:rPr lang="de-DE" err="1"/>
              <a:t>then</a:t>
            </a:r>
            <a:r>
              <a:rPr lang="de-DE"/>
              <a:t> </a:t>
            </a:r>
            <a:r>
              <a:rPr lang="de-DE" err="1"/>
              <a:t>right-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lac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mage</a:t>
            </a:r>
            <a:r>
              <a:rPr lang="de-DE"/>
              <a:t> 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background</a:t>
            </a:r>
            <a:r>
              <a:rPr lang="de-DE"/>
              <a:t> </a:t>
            </a:r>
          </a:p>
        </p:txBody>
      </p:sp>
      <p:sp>
        <p:nvSpPr>
          <p:cNvPr id="3" name="Textplatzhalter 16">
            <a:extLst>
              <a:ext uri="{FF2B5EF4-FFF2-40B4-BE49-F238E27FC236}">
                <a16:creationId xmlns:a16="http://schemas.microsoft.com/office/drawing/2014/main" id="{2A01A151-4226-4D04-9454-D9F1480A36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0888" y="6198994"/>
            <a:ext cx="1281266" cy="26054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FF29BDC9-3AE5-47C6-ACBF-B100B19CD1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86082" y="565805"/>
            <a:ext cx="7479507" cy="27107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8797">
                <a:solidFill>
                  <a:schemeClr val="bg1"/>
                </a:solidFill>
                <a:latin typeface="Bandeins Strange Bold Extd Half" panose="00000500000000000000" pitchFamily="50" charset="0"/>
              </a:defRPr>
            </a:lvl1pPr>
          </a:lstStyle>
          <a:p>
            <a:r>
              <a:rPr lang="de-DE"/>
              <a:t>Titel/title</a:t>
            </a: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AB69104A-3EBD-4426-A3A1-4336434F6D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6081" y="5011015"/>
            <a:ext cx="3627855" cy="583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457063" indent="0">
              <a:buNone/>
              <a:defRPr/>
            </a:lvl2pPr>
          </a:lstStyle>
          <a:p>
            <a:pPr lvl="0"/>
            <a:r>
              <a:rPr lang="de-DE"/>
              <a:t>Name Nachname</a:t>
            </a:r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0B84B2D6-33F7-5651-1855-94414EC34B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081" y="3789363"/>
            <a:ext cx="3629236" cy="5762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 oder Logoplatzhalter</a:t>
            </a:r>
          </a:p>
        </p:txBody>
      </p:sp>
    </p:spTree>
    <p:extLst>
      <p:ext uri="{BB962C8B-B14F-4D97-AF65-F5344CB8AC3E}">
        <p14:creationId xmlns:p14="http://schemas.microsoft.com/office/powerpoint/2010/main" val="3470311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26B43"/>
          </p15:clr>
        </p15:guide>
        <p15:guide id="2" orient="horz" pos="2750">
          <p15:clr>
            <a:srgbClr val="F26B43"/>
          </p15:clr>
        </p15:guide>
        <p15:guide id="3" orient="horz" pos="3158">
          <p15:clr>
            <a:srgbClr val="F26B43"/>
          </p15:clr>
        </p15:guide>
        <p15:guide id="4" orient="horz" pos="3521">
          <p15:clr>
            <a:srgbClr val="F26B43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EB5146-201D-4C1C-8B74-7E1FBC811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 cap="none" baseline="0"/>
            </a:lvl1pPr>
          </a:lstStyle>
          <a:p>
            <a:r>
              <a:rPr lang="de-DE"/>
              <a:t>Agenda</a:t>
            </a:r>
          </a:p>
        </p:txBody>
      </p:sp>
      <p:cxnSp>
        <p:nvCxnSpPr>
          <p:cNvPr id="31" name="Gerader Verbinder 16">
            <a:extLst>
              <a:ext uri="{FF2B5EF4-FFF2-40B4-BE49-F238E27FC236}">
                <a16:creationId xmlns:a16="http://schemas.microsoft.com/office/drawing/2014/main" id="{E0A17CF4-5D34-B64B-8EBF-74F42035854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12">
            <a:extLst>
              <a:ext uri="{FF2B5EF4-FFF2-40B4-BE49-F238E27FC236}">
                <a16:creationId xmlns:a16="http://schemas.microsoft.com/office/drawing/2014/main" id="{00B84A25-4894-2B47-97CB-735C1FEBEE37}"/>
              </a:ext>
            </a:extLst>
          </p:cNvPr>
          <p:cNvSpPr/>
          <p:nvPr userDrawn="1"/>
        </p:nvSpPr>
        <p:spPr bwMode="gray"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96D07E-0919-03BD-C4D1-ED09C54005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888" y="1773238"/>
            <a:ext cx="9789150" cy="49244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3199" b="1">
                <a:latin typeface="+mj-lt"/>
              </a:defRPr>
            </a:lvl1pPr>
          </a:lstStyle>
          <a:p>
            <a:pPr lvl="0"/>
            <a:r>
              <a:rPr lang="de-DE"/>
              <a:t>Kapitel 1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F7D3783C-27B4-3BFC-8DCC-1F1923AEBC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630306" y="1770577"/>
            <a:ext cx="1077551" cy="493200"/>
          </a:xfrm>
        </p:spPr>
        <p:txBody>
          <a:bodyPr anchor="ctr"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latin typeface="+mn-lt"/>
              </a:defRPr>
            </a:lvl1pPr>
          </a:lstStyle>
          <a:p>
            <a:pPr lvl="0"/>
            <a:r>
              <a:rPr lang="de-DE"/>
              <a:t>Seitenzahl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16109011-F295-C446-6020-A7D37C9EB3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2337195"/>
            <a:ext cx="12190025" cy="0"/>
          </a:xfrm>
          <a:custGeom>
            <a:avLst/>
            <a:gdLst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4" fmla="*/ 0 w 9791700"/>
              <a:gd name="connsiteY4" fmla="*/ 0 h 492443"/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4" fmla="*/ 91440 w 9791700"/>
              <a:gd name="connsiteY4" fmla="*/ 91440 h 492443"/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0" fmla="*/ 9791700 w 9791700"/>
              <a:gd name="connsiteY0" fmla="*/ 0 h 492443"/>
              <a:gd name="connsiteX1" fmla="*/ 9791700 w 9791700"/>
              <a:gd name="connsiteY1" fmla="*/ 492443 h 492443"/>
              <a:gd name="connsiteX2" fmla="*/ 0 w 9791700"/>
              <a:gd name="connsiteY2" fmla="*/ 492443 h 492443"/>
              <a:gd name="connsiteX0" fmla="*/ 9791700 w 9791700"/>
              <a:gd name="connsiteY0" fmla="*/ 0 h 0"/>
              <a:gd name="connsiteX1" fmla="*/ 0 w 97917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791700">
                <a:moveTo>
                  <a:pt x="9791700" y="0"/>
                </a:moveTo>
                <a:lnTo>
                  <a:pt x="0" y="0"/>
                </a:lnTo>
              </a:path>
            </a:pathLst>
          </a:custGeom>
          <a:ln>
            <a:solidFill>
              <a:schemeClr val="accent1"/>
            </a:solidFill>
          </a:ln>
        </p:spPr>
        <p:txBody>
          <a:bodyPr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3199" b="1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9CEF6FF0-360B-5B25-7F84-289E8DDDE0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0888" y="2408710"/>
            <a:ext cx="9789150" cy="49244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3199" b="1">
                <a:latin typeface="+mj-lt"/>
              </a:defRPr>
            </a:lvl1pPr>
          </a:lstStyle>
          <a:p>
            <a:pPr lvl="0"/>
            <a:r>
              <a:rPr lang="de-DE"/>
              <a:t>Kapitel 2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6D3B4904-6473-77F1-6939-FB17E3619F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0630306" y="2406049"/>
            <a:ext cx="1077551" cy="493200"/>
          </a:xfrm>
        </p:spPr>
        <p:txBody>
          <a:bodyPr anchor="ctr"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latin typeface="+mn-lt"/>
              </a:defRPr>
            </a:lvl1pPr>
          </a:lstStyle>
          <a:p>
            <a:pPr lvl="0"/>
            <a:r>
              <a:rPr lang="de-DE"/>
              <a:t>Seitenzahl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077B4A35-8105-0AF4-7A5F-F1D0B87DC6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0888" y="3044182"/>
            <a:ext cx="9789150" cy="49244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3199" b="1">
                <a:latin typeface="+mj-lt"/>
              </a:defRPr>
            </a:lvl1pPr>
          </a:lstStyle>
          <a:p>
            <a:pPr lvl="0"/>
            <a:r>
              <a:rPr lang="de-DE"/>
              <a:t>Kapitel 3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996D8F33-524C-985E-62AA-94338703E0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0630306" y="3041521"/>
            <a:ext cx="1077551" cy="493200"/>
          </a:xfrm>
        </p:spPr>
        <p:txBody>
          <a:bodyPr anchor="ctr"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latin typeface="+mn-lt"/>
              </a:defRPr>
            </a:lvl1pPr>
          </a:lstStyle>
          <a:p>
            <a:pPr lvl="0"/>
            <a:r>
              <a:rPr lang="de-DE"/>
              <a:t>Seitenzahl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08929352-C97F-6B6C-4D7C-B9CFFBE855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80888" y="3679653"/>
            <a:ext cx="9789150" cy="49244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3199" b="1">
                <a:latin typeface="+mj-lt"/>
              </a:defRPr>
            </a:lvl1pPr>
          </a:lstStyle>
          <a:p>
            <a:pPr lvl="0"/>
            <a:r>
              <a:rPr lang="de-DE"/>
              <a:t>Kapitel 4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2A9F4D95-6DA6-E6F7-F313-F000B51FE5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0630306" y="3676993"/>
            <a:ext cx="1077551" cy="493200"/>
          </a:xfrm>
        </p:spPr>
        <p:txBody>
          <a:bodyPr anchor="ctr"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latin typeface="+mn-lt"/>
              </a:defRPr>
            </a:lvl1pPr>
          </a:lstStyle>
          <a:p>
            <a:pPr lvl="0"/>
            <a:r>
              <a:rPr lang="de-DE"/>
              <a:t>Seitenzahl</a:t>
            </a:r>
          </a:p>
        </p:txBody>
      </p:sp>
      <p:sp>
        <p:nvSpPr>
          <p:cNvPr id="36" name="Textplatzhalter 4">
            <a:extLst>
              <a:ext uri="{FF2B5EF4-FFF2-40B4-BE49-F238E27FC236}">
                <a16:creationId xmlns:a16="http://schemas.microsoft.com/office/drawing/2014/main" id="{A1F76C8D-A8A4-17D0-5361-6A77DD9C52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80888" y="4315126"/>
            <a:ext cx="9789150" cy="49244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3199" b="1">
                <a:latin typeface="+mj-lt"/>
              </a:defRPr>
            </a:lvl1pPr>
          </a:lstStyle>
          <a:p>
            <a:pPr lvl="0"/>
            <a:r>
              <a:rPr lang="de-DE"/>
              <a:t>Kapitel 5</a:t>
            </a: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4B1BD3FD-83A7-DAAE-CE32-D57813E276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630306" y="4312465"/>
            <a:ext cx="1077551" cy="493200"/>
          </a:xfrm>
        </p:spPr>
        <p:txBody>
          <a:bodyPr anchor="ctr"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latin typeface="+mn-lt"/>
              </a:defRPr>
            </a:lvl1pPr>
          </a:lstStyle>
          <a:p>
            <a:pPr lvl="0"/>
            <a:r>
              <a:rPr lang="de-DE"/>
              <a:t>Seitenzahl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14345C2D-465F-10CC-4E00-31EC188141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80888" y="4950599"/>
            <a:ext cx="9789150" cy="49244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3199" b="1">
                <a:latin typeface="+mj-lt"/>
              </a:defRPr>
            </a:lvl1pPr>
          </a:lstStyle>
          <a:p>
            <a:pPr lvl="0"/>
            <a:r>
              <a:rPr lang="de-DE"/>
              <a:t>Kapitel 6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F9C63EE2-8AA3-5E7C-CC86-A5FE2D249E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0630306" y="4947937"/>
            <a:ext cx="1077551" cy="493200"/>
          </a:xfrm>
        </p:spPr>
        <p:txBody>
          <a:bodyPr anchor="ctr"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latin typeface="+mn-lt"/>
              </a:defRPr>
            </a:lvl1pPr>
          </a:lstStyle>
          <a:p>
            <a:pPr lvl="0"/>
            <a:r>
              <a:rPr lang="de-DE"/>
              <a:t>Seitenzahl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23DA0041-1D27-0B95-9919-4D3842B5FC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0" y="2972667"/>
            <a:ext cx="12190025" cy="0"/>
          </a:xfrm>
          <a:custGeom>
            <a:avLst/>
            <a:gdLst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4" fmla="*/ 0 w 9791700"/>
              <a:gd name="connsiteY4" fmla="*/ 0 h 492443"/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4" fmla="*/ 91440 w 9791700"/>
              <a:gd name="connsiteY4" fmla="*/ 91440 h 492443"/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0" fmla="*/ 9791700 w 9791700"/>
              <a:gd name="connsiteY0" fmla="*/ 0 h 492443"/>
              <a:gd name="connsiteX1" fmla="*/ 9791700 w 9791700"/>
              <a:gd name="connsiteY1" fmla="*/ 492443 h 492443"/>
              <a:gd name="connsiteX2" fmla="*/ 0 w 9791700"/>
              <a:gd name="connsiteY2" fmla="*/ 492443 h 492443"/>
              <a:gd name="connsiteX0" fmla="*/ 9791700 w 9791700"/>
              <a:gd name="connsiteY0" fmla="*/ 0 h 0"/>
              <a:gd name="connsiteX1" fmla="*/ 0 w 97917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791700">
                <a:moveTo>
                  <a:pt x="9791700" y="0"/>
                </a:moveTo>
                <a:lnTo>
                  <a:pt x="0" y="0"/>
                </a:lnTo>
              </a:path>
            </a:pathLst>
          </a:custGeom>
          <a:ln>
            <a:solidFill>
              <a:schemeClr val="accent1"/>
            </a:solidFill>
          </a:ln>
        </p:spPr>
        <p:txBody>
          <a:bodyPr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3199" b="1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C2AFE633-73F0-2867-92B0-06958CAF6F6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0" y="3608139"/>
            <a:ext cx="12190025" cy="0"/>
          </a:xfrm>
          <a:custGeom>
            <a:avLst/>
            <a:gdLst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4" fmla="*/ 0 w 9791700"/>
              <a:gd name="connsiteY4" fmla="*/ 0 h 492443"/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4" fmla="*/ 91440 w 9791700"/>
              <a:gd name="connsiteY4" fmla="*/ 91440 h 492443"/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0" fmla="*/ 9791700 w 9791700"/>
              <a:gd name="connsiteY0" fmla="*/ 0 h 492443"/>
              <a:gd name="connsiteX1" fmla="*/ 9791700 w 9791700"/>
              <a:gd name="connsiteY1" fmla="*/ 492443 h 492443"/>
              <a:gd name="connsiteX2" fmla="*/ 0 w 9791700"/>
              <a:gd name="connsiteY2" fmla="*/ 492443 h 492443"/>
              <a:gd name="connsiteX0" fmla="*/ 9791700 w 9791700"/>
              <a:gd name="connsiteY0" fmla="*/ 0 h 0"/>
              <a:gd name="connsiteX1" fmla="*/ 0 w 97917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791700">
                <a:moveTo>
                  <a:pt x="9791700" y="0"/>
                </a:moveTo>
                <a:lnTo>
                  <a:pt x="0" y="0"/>
                </a:lnTo>
              </a:path>
            </a:pathLst>
          </a:custGeom>
          <a:ln>
            <a:solidFill>
              <a:schemeClr val="accent1"/>
            </a:solidFill>
          </a:ln>
        </p:spPr>
        <p:txBody>
          <a:bodyPr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3199" b="1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D4382924-CFD7-7EA6-E0A3-D64FF9B97B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0" y="4243611"/>
            <a:ext cx="12190025" cy="0"/>
          </a:xfrm>
          <a:custGeom>
            <a:avLst/>
            <a:gdLst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4" fmla="*/ 0 w 9791700"/>
              <a:gd name="connsiteY4" fmla="*/ 0 h 492443"/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4" fmla="*/ 91440 w 9791700"/>
              <a:gd name="connsiteY4" fmla="*/ 91440 h 492443"/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0" fmla="*/ 9791700 w 9791700"/>
              <a:gd name="connsiteY0" fmla="*/ 0 h 492443"/>
              <a:gd name="connsiteX1" fmla="*/ 9791700 w 9791700"/>
              <a:gd name="connsiteY1" fmla="*/ 492443 h 492443"/>
              <a:gd name="connsiteX2" fmla="*/ 0 w 9791700"/>
              <a:gd name="connsiteY2" fmla="*/ 492443 h 492443"/>
              <a:gd name="connsiteX0" fmla="*/ 9791700 w 9791700"/>
              <a:gd name="connsiteY0" fmla="*/ 0 h 0"/>
              <a:gd name="connsiteX1" fmla="*/ 0 w 97917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791700">
                <a:moveTo>
                  <a:pt x="9791700" y="0"/>
                </a:moveTo>
                <a:lnTo>
                  <a:pt x="0" y="0"/>
                </a:lnTo>
              </a:path>
            </a:pathLst>
          </a:custGeom>
          <a:ln>
            <a:solidFill>
              <a:schemeClr val="accent1"/>
            </a:solidFill>
          </a:ln>
        </p:spPr>
        <p:txBody>
          <a:bodyPr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3199" b="1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3" name="Textplatzhalter 4">
            <a:extLst>
              <a:ext uri="{FF2B5EF4-FFF2-40B4-BE49-F238E27FC236}">
                <a16:creationId xmlns:a16="http://schemas.microsoft.com/office/drawing/2014/main" id="{D5B64645-2AA2-F1A0-786B-6DCB890F31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0" y="4879083"/>
            <a:ext cx="12190025" cy="0"/>
          </a:xfrm>
          <a:custGeom>
            <a:avLst/>
            <a:gdLst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4" fmla="*/ 0 w 9791700"/>
              <a:gd name="connsiteY4" fmla="*/ 0 h 492443"/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4" fmla="*/ 91440 w 9791700"/>
              <a:gd name="connsiteY4" fmla="*/ 91440 h 492443"/>
              <a:gd name="connsiteX0" fmla="*/ 0 w 9791700"/>
              <a:gd name="connsiteY0" fmla="*/ 0 h 492443"/>
              <a:gd name="connsiteX1" fmla="*/ 9791700 w 9791700"/>
              <a:gd name="connsiteY1" fmla="*/ 0 h 492443"/>
              <a:gd name="connsiteX2" fmla="*/ 9791700 w 9791700"/>
              <a:gd name="connsiteY2" fmla="*/ 492443 h 492443"/>
              <a:gd name="connsiteX3" fmla="*/ 0 w 9791700"/>
              <a:gd name="connsiteY3" fmla="*/ 492443 h 492443"/>
              <a:gd name="connsiteX0" fmla="*/ 9791700 w 9791700"/>
              <a:gd name="connsiteY0" fmla="*/ 0 h 492443"/>
              <a:gd name="connsiteX1" fmla="*/ 9791700 w 9791700"/>
              <a:gd name="connsiteY1" fmla="*/ 492443 h 492443"/>
              <a:gd name="connsiteX2" fmla="*/ 0 w 9791700"/>
              <a:gd name="connsiteY2" fmla="*/ 492443 h 492443"/>
              <a:gd name="connsiteX0" fmla="*/ 9791700 w 9791700"/>
              <a:gd name="connsiteY0" fmla="*/ 0 h 0"/>
              <a:gd name="connsiteX1" fmla="*/ 0 w 97917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791700">
                <a:moveTo>
                  <a:pt x="9791700" y="0"/>
                </a:moveTo>
                <a:lnTo>
                  <a:pt x="0" y="0"/>
                </a:lnTo>
              </a:path>
            </a:pathLst>
          </a:custGeom>
          <a:ln>
            <a:solidFill>
              <a:schemeClr val="accent1"/>
            </a:solidFill>
          </a:ln>
        </p:spPr>
        <p:txBody>
          <a:bodyPr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3199" b="1"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3591899E-B0B5-CC6F-8DC9-BF22FA29DA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b="0" i="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3595742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0">
          <p15:clr>
            <a:srgbClr val="F26B43"/>
          </p15:clr>
        </p15:guide>
        <p15:guide id="2" orient="horz" pos="1117">
          <p15:clr>
            <a:srgbClr val="F26B43"/>
          </p15:clr>
        </p15:guide>
        <p15:guide id="3" pos="6698">
          <p15:clr>
            <a:srgbClr val="F26B43"/>
          </p15:clr>
        </p15:guide>
        <p15:guide id="4" pos="647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1">
            <a:extLst>
              <a:ext uri="{FF2B5EF4-FFF2-40B4-BE49-F238E27FC236}">
                <a16:creationId xmlns:a16="http://schemas.microsoft.com/office/drawing/2014/main" id="{E255202F-7BB2-EF4E-84BC-E7D92A2639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8781" y="365539"/>
            <a:ext cx="11229075" cy="12465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CC03B78-5F4B-C54B-A9BA-9BB15F39B7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380" y="6220275"/>
            <a:ext cx="11226971" cy="21544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700"/>
            </a:lvl1pPr>
            <a:lvl2pPr marL="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/>
              <a:t>Fußnote: 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3B75D204-0D9F-8B4F-91C9-831E6F3583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0887" y="555464"/>
            <a:ext cx="11229075" cy="461665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/>
              <a:t>Titel/titl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EBC206A4-147C-644A-961C-DED22C57B1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0888" y="1017677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/</a:t>
            </a:r>
            <a:r>
              <a:rPr lang="de-DE" err="1"/>
              <a:t>subtitle</a:t>
            </a:r>
            <a:endParaRPr lang="de-DE"/>
          </a:p>
        </p:txBody>
      </p:sp>
      <p:cxnSp>
        <p:nvCxnSpPr>
          <p:cNvPr id="14" name="Gerader Verbinder 16">
            <a:extLst>
              <a:ext uri="{FF2B5EF4-FFF2-40B4-BE49-F238E27FC236}">
                <a16:creationId xmlns:a16="http://schemas.microsoft.com/office/drawing/2014/main" id="{7433445D-8C43-464B-9EF4-131A98A0A0F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2">
            <a:extLst>
              <a:ext uri="{FF2B5EF4-FFF2-40B4-BE49-F238E27FC236}">
                <a16:creationId xmlns:a16="http://schemas.microsoft.com/office/drawing/2014/main" id="{0A7D8329-EF18-0B4D-B512-C4B8F562F873}"/>
              </a:ext>
            </a:extLst>
          </p:cNvPr>
          <p:cNvSpPr/>
          <p:nvPr userDrawn="1"/>
        </p:nvSpPr>
        <p:spPr bwMode="gray"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10A917-01D4-AE4B-9CF6-AD74B9EBEE5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480888" y="1773244"/>
            <a:ext cx="11229075" cy="429259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4373AB-EA2F-49AC-1D0A-E3AFEBD082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1557" y="6577201"/>
            <a:ext cx="9214793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b="0" i="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235272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2" orient="horz" pos="640">
          <p15:clr>
            <a:srgbClr val="F26B43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Subtitle2 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>
            <a:extLst>
              <a:ext uri="{FF2B5EF4-FFF2-40B4-BE49-F238E27FC236}">
                <a16:creationId xmlns:a16="http://schemas.microsoft.com/office/drawing/2014/main" id="{931CCCEB-DC29-E44B-A0DC-99EAA96D14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379" y="6220275"/>
            <a:ext cx="11229075" cy="21544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700"/>
            </a:lvl1pPr>
            <a:lvl2pPr marL="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/>
              <a:t>Fußnote: 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6ACA9357-FD76-E04A-8450-FF63393BAB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0887" y="1773244"/>
            <a:ext cx="11229075" cy="31273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799" b="1" cap="all" baseline="0">
                <a:latin typeface="+mj-lt"/>
              </a:defRPr>
            </a:lvl1pPr>
          </a:lstStyle>
          <a:p>
            <a:pPr lvl="0"/>
            <a:r>
              <a:rPr lang="de-DE"/>
              <a:t>Überschrift/TITLE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1E47022F-EDC4-0C40-A746-67D2549EC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0887" y="555464"/>
            <a:ext cx="11229075" cy="461665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/>
              <a:t>Titel/title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52B10F04-7873-DF45-8C2B-CF65BF0274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0888" y="1017677"/>
            <a:ext cx="11229075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/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8BF50C96-2A15-5347-B6D5-0843B10CCE1E}"/>
              </a:ext>
            </a:extLst>
          </p:cNvPr>
          <p:cNvSpPr txBox="1"/>
          <p:nvPr userDrawn="1"/>
        </p:nvSpPr>
        <p:spPr bwMode="gray">
          <a:xfrm>
            <a:off x="6818124" y="99060"/>
            <a:ext cx="1081758" cy="91440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square" lIns="467878" tIns="0" rIns="0" bIns="0" rtlCol="0" anchor="t" anchorCtr="0">
            <a:noAutofit/>
          </a:bodyPr>
          <a:lstStyle/>
          <a:p>
            <a:pPr algn="l">
              <a:lnSpc>
                <a:spcPts val="1200"/>
              </a:lnSpc>
            </a:pPr>
            <a:endParaRPr lang="de-DE" sz="900">
              <a:solidFill>
                <a:srgbClr val="000000"/>
              </a:solidFill>
            </a:endParaRPr>
          </a:p>
        </p:txBody>
      </p:sp>
      <p:cxnSp>
        <p:nvCxnSpPr>
          <p:cNvPr id="13" name="Gerader Verbinder 16">
            <a:extLst>
              <a:ext uri="{FF2B5EF4-FFF2-40B4-BE49-F238E27FC236}">
                <a16:creationId xmlns:a16="http://schemas.microsoft.com/office/drawing/2014/main" id="{8B5F93AA-C52C-6A46-969E-1AAB623F78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2">
            <a:extLst>
              <a:ext uri="{FF2B5EF4-FFF2-40B4-BE49-F238E27FC236}">
                <a16:creationId xmlns:a16="http://schemas.microsoft.com/office/drawing/2014/main" id="{90799900-B682-1A49-8A80-5EF09FCE332C}"/>
              </a:ext>
            </a:extLst>
          </p:cNvPr>
          <p:cNvSpPr/>
          <p:nvPr userDrawn="1"/>
        </p:nvSpPr>
        <p:spPr bwMode="gray"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45EFC18-5515-46CE-8181-828C6986A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300" y="2252663"/>
            <a:ext cx="11229075" cy="3940175"/>
          </a:xfrm>
        </p:spPr>
        <p:txBody>
          <a:bodyPr/>
          <a:lstStyle>
            <a:lvl1pPr>
              <a:buNone/>
              <a:defRPr/>
            </a:lvl1pPr>
            <a:lvl6pPr marL="898255" indent="-179334">
              <a:tabLst/>
              <a:defRPr/>
            </a:lvl6pPr>
          </a:lstStyle>
          <a:p>
            <a:pPr lvl="0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A32C7859-A337-3EE4-FE9D-BCAFD4CD26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8781" y="365539"/>
            <a:ext cx="11229075" cy="12465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F9ACAB96-9886-C2FF-20E4-9ACEDE457A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1558" y="6577201"/>
            <a:ext cx="9216298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b="0" i="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1701300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3" orient="horz" pos="640">
          <p15:clr>
            <a:srgbClr val="F26B43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F61F2D08-AA21-8C4F-AE92-E9D101CC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0888" y="555464"/>
            <a:ext cx="11229075" cy="461665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/>
              <a:t>Titel/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AAC2C9-9579-9D40-B202-332F19C68E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0888" y="1017677"/>
            <a:ext cx="11229075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/</a:t>
            </a:r>
            <a:r>
              <a:rPr lang="de-DE" err="1"/>
              <a:t>subtitle</a:t>
            </a:r>
            <a:endParaRPr lang="de-DE"/>
          </a:p>
        </p:txBody>
      </p:sp>
      <p:cxnSp>
        <p:nvCxnSpPr>
          <p:cNvPr id="16" name="Gerader Verbinder 16">
            <a:extLst>
              <a:ext uri="{FF2B5EF4-FFF2-40B4-BE49-F238E27FC236}">
                <a16:creationId xmlns:a16="http://schemas.microsoft.com/office/drawing/2014/main" id="{AE1246D5-B647-D742-BF79-9F47994E206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2">
            <a:extLst>
              <a:ext uri="{FF2B5EF4-FFF2-40B4-BE49-F238E27FC236}">
                <a16:creationId xmlns:a16="http://schemas.microsoft.com/office/drawing/2014/main" id="{76770CE1-DD59-3A44-8D32-595B79F1F326}"/>
              </a:ext>
            </a:extLst>
          </p:cNvPr>
          <p:cNvSpPr/>
          <p:nvPr userDrawn="1"/>
        </p:nvSpPr>
        <p:spPr bwMode="gray"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2" name="Textplatzhalter 11">
            <a:extLst>
              <a:ext uri="{FF2B5EF4-FFF2-40B4-BE49-F238E27FC236}">
                <a16:creationId xmlns:a16="http://schemas.microsoft.com/office/drawing/2014/main" id="{73DCF099-F69C-BB95-B912-C9CEF36AD7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8781" y="365539"/>
            <a:ext cx="11229075" cy="12465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865AF20F-2A34-16E6-6C1B-59B006412A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1558" y="6577201"/>
            <a:ext cx="9216298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b="0" i="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3982609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0">
          <p15:clr>
            <a:srgbClr val="F26B43"/>
          </p15:clr>
        </p15:guide>
        <p15:guide id="2" orient="horz" pos="1117">
          <p15:clr>
            <a:srgbClr val="F26B43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CAC9CF-8AA1-AE43-8AE5-5FB48DD876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0887" y="555464"/>
            <a:ext cx="11229075" cy="461665"/>
          </a:xfrm>
        </p:spPr>
        <p:txBody>
          <a:bodyPr anchor="t" anchorCtr="0"/>
          <a:lstStyle/>
          <a:p>
            <a:r>
              <a:rPr lang="de-DE"/>
              <a:t>Titel/title</a:t>
            </a:r>
          </a:p>
        </p:txBody>
      </p:sp>
      <p:cxnSp>
        <p:nvCxnSpPr>
          <p:cNvPr id="8" name="Gerader Verbinder 16">
            <a:extLst>
              <a:ext uri="{FF2B5EF4-FFF2-40B4-BE49-F238E27FC236}">
                <a16:creationId xmlns:a16="http://schemas.microsoft.com/office/drawing/2014/main" id="{5ECCC085-5D8C-6440-9F21-6FDB155A51D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2">
            <a:extLst>
              <a:ext uri="{FF2B5EF4-FFF2-40B4-BE49-F238E27FC236}">
                <a16:creationId xmlns:a16="http://schemas.microsoft.com/office/drawing/2014/main" id="{CADF45C5-430F-2044-B9C6-15D5E737A56D}"/>
              </a:ext>
            </a:extLst>
          </p:cNvPr>
          <p:cNvSpPr/>
          <p:nvPr userDrawn="1"/>
        </p:nvSpPr>
        <p:spPr bwMode="gray"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4" name="Textplatzhalter 11">
            <a:extLst>
              <a:ext uri="{FF2B5EF4-FFF2-40B4-BE49-F238E27FC236}">
                <a16:creationId xmlns:a16="http://schemas.microsoft.com/office/drawing/2014/main" id="{F6587C9E-AE14-A9B7-DDA5-54E31FC36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8781" y="365539"/>
            <a:ext cx="11229075" cy="12465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D2ED3160-ADF0-3557-7E53-891BF4DC95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1558" y="6577201"/>
            <a:ext cx="9216298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b="0" i="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4096123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2" orient="horz" pos="640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EB5146-201D-4C1C-8B74-7E1FBC811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Agenda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0B88AE01-7DEB-4613-98FF-8EBF97A1C0F1}"/>
              </a:ext>
            </a:extLst>
          </p:cNvPr>
          <p:cNvCxnSpPr>
            <a:cxnSpLocks/>
          </p:cNvCxnSpPr>
          <p:nvPr/>
        </p:nvCxnSpPr>
        <p:spPr>
          <a:xfrm>
            <a:off x="0" y="2378753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DEFE3953-420E-4DA4-BC0B-A5FBD70965AE}"/>
              </a:ext>
            </a:extLst>
          </p:cNvPr>
          <p:cNvCxnSpPr>
            <a:cxnSpLocks/>
          </p:cNvCxnSpPr>
          <p:nvPr/>
        </p:nvCxnSpPr>
        <p:spPr>
          <a:xfrm>
            <a:off x="0" y="2993793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8A4D413F-87C6-418E-88A3-0F3FC8F111B7}"/>
              </a:ext>
            </a:extLst>
          </p:cNvPr>
          <p:cNvCxnSpPr>
            <a:cxnSpLocks/>
          </p:cNvCxnSpPr>
          <p:nvPr/>
        </p:nvCxnSpPr>
        <p:spPr>
          <a:xfrm>
            <a:off x="0" y="3608833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49B8F1C2-4330-4725-AF63-7A1295C06CFE}"/>
              </a:ext>
            </a:extLst>
          </p:cNvPr>
          <p:cNvCxnSpPr>
            <a:cxnSpLocks/>
          </p:cNvCxnSpPr>
          <p:nvPr/>
        </p:nvCxnSpPr>
        <p:spPr>
          <a:xfrm>
            <a:off x="-40" y="4223860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E6B6940E-6A46-452D-A160-4CE726B7ACDF}"/>
              </a:ext>
            </a:extLst>
          </p:cNvPr>
          <p:cNvCxnSpPr>
            <a:cxnSpLocks/>
          </p:cNvCxnSpPr>
          <p:nvPr/>
        </p:nvCxnSpPr>
        <p:spPr>
          <a:xfrm>
            <a:off x="0" y="4838913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7">
            <a:extLst>
              <a:ext uri="{FF2B5EF4-FFF2-40B4-BE49-F238E27FC236}">
                <a16:creationId xmlns:a16="http://schemas.microsoft.com/office/drawing/2014/main" id="{1B474A83-533E-034A-B57B-9C4AA323524B}"/>
              </a:ext>
            </a:extLst>
          </p:cNvPr>
          <p:cNvCxnSpPr>
            <a:cxnSpLocks/>
          </p:cNvCxnSpPr>
          <p:nvPr userDrawn="1"/>
        </p:nvCxnSpPr>
        <p:spPr>
          <a:xfrm>
            <a:off x="0" y="5451688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736D0AAF-CA99-9549-8F49-037FD85975EA}"/>
              </a:ext>
            </a:extLst>
          </p:cNvPr>
          <p:cNvSpPr txBox="1"/>
          <p:nvPr userDrawn="1"/>
        </p:nvSpPr>
        <p:spPr>
          <a:xfrm>
            <a:off x="1445183" y="6414247"/>
            <a:ext cx="0" cy="0"/>
          </a:xfrm>
          <a:prstGeom prst="rect">
            <a:avLst/>
          </a:prstGeom>
          <a:noFill/>
          <a:ln w="12700" cmpd="sng">
            <a:noFill/>
            <a:prstDash val="solid"/>
          </a:ln>
        </p:spPr>
        <p:txBody>
          <a:bodyPr vert="horz" wrap="none" lIns="467878" tIns="0" rIns="0" bIns="0" rtlCol="0" anchor="t" anchorCtr="0">
            <a:noAutofit/>
          </a:bodyPr>
          <a:lstStyle/>
          <a:p>
            <a:pPr algn="l">
              <a:lnSpc>
                <a:spcPts val="1200"/>
              </a:lnSpc>
            </a:pPr>
            <a:endParaRPr lang="de-DE" sz="900" b="0" i="0">
              <a:solidFill>
                <a:srgbClr val="000000"/>
              </a:solidFill>
              <a:latin typeface="Sen ExtraBold" pitchFamily="2" charset="0"/>
            </a:endParaRP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A4D25783-B89E-2546-8924-CDA2A10B67E0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cxnSp>
        <p:nvCxnSpPr>
          <p:cNvPr id="31" name="Gerader Verbinder 16">
            <a:extLst>
              <a:ext uri="{FF2B5EF4-FFF2-40B4-BE49-F238E27FC236}">
                <a16:creationId xmlns:a16="http://schemas.microsoft.com/office/drawing/2014/main" id="{E0A17CF4-5D34-B64B-8EBF-74F420358544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12">
            <a:extLst>
              <a:ext uri="{FF2B5EF4-FFF2-40B4-BE49-F238E27FC236}">
                <a16:creationId xmlns:a16="http://schemas.microsoft.com/office/drawing/2014/main" id="{00B84A25-4894-2B47-97CB-735C1FEBEE37}"/>
              </a:ext>
            </a:extLst>
          </p:cNvPr>
          <p:cNvSpPr/>
          <p:nvPr userDrawn="1"/>
        </p:nvSpPr>
        <p:spPr>
          <a:xfrm>
            <a:off x="11838683" y="6577201"/>
            <a:ext cx="21955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0" i="0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 b="0" i="0">
              <a:latin typeface="Sen ExtraBold" pitchFamily="2" charset="0"/>
            </a:endParaRPr>
          </a:p>
        </p:txBody>
      </p: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90B3DA8F-E2D4-814C-BCF8-75159A1E07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7B91FE6-DEB8-E848-BD1E-9BCF35AFE6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0450" y="1774825"/>
            <a:ext cx="9357900" cy="3952869"/>
          </a:xfrm>
        </p:spPr>
        <p:txBody>
          <a:bodyPr/>
          <a:lstStyle>
            <a:lvl1pPr>
              <a:lnSpc>
                <a:spcPts val="4799"/>
              </a:lnSpc>
              <a:defRPr sz="3199" b="1" i="0">
                <a:latin typeface="Bandeins Strange" pitchFamily="2" charset="0"/>
              </a:defRPr>
            </a:lvl1pPr>
          </a:lstStyle>
          <a:p>
            <a:pPr lvl="0"/>
            <a:r>
              <a:rPr lang="de-DE"/>
              <a:t>Kapitel 1</a:t>
            </a:r>
          </a:p>
          <a:p>
            <a:pPr lvl="0"/>
            <a:r>
              <a:rPr lang="de-DE"/>
              <a:t>Kapitel 2</a:t>
            </a:r>
          </a:p>
          <a:p>
            <a:pPr lvl="0"/>
            <a:r>
              <a:rPr lang="de-DE"/>
              <a:t>Kapitel 3</a:t>
            </a:r>
          </a:p>
          <a:p>
            <a:pPr lvl="0"/>
            <a:r>
              <a:rPr lang="de-DE"/>
              <a:t>Kapitel 4</a:t>
            </a:r>
          </a:p>
          <a:p>
            <a:pPr lvl="0"/>
            <a:r>
              <a:rPr lang="de-DE"/>
              <a:t>Kapitel 5</a:t>
            </a:r>
          </a:p>
          <a:p>
            <a:pPr lvl="0"/>
            <a:r>
              <a:rPr lang="de-DE"/>
              <a:t>Kapitel 6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9DE904D-AF2F-3B4B-A274-E936AF4E787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885137" y="1774800"/>
            <a:ext cx="1824388" cy="4078284"/>
          </a:xfrm>
        </p:spPr>
        <p:txBody>
          <a:bodyPr/>
          <a:lstStyle>
            <a:lvl1pPr algn="r">
              <a:lnSpc>
                <a:spcPts val="4799"/>
              </a:lnSpc>
              <a:defRPr b="0" i="0">
                <a:latin typeface="Sen ExtraBold" pitchFamily="2" charset="0"/>
              </a:defRPr>
            </a:lvl1pPr>
          </a:lstStyle>
          <a:p>
            <a:pPr lvl="0"/>
            <a:r>
              <a:rPr lang="de-DE"/>
              <a:t>Seite x</a:t>
            </a:r>
          </a:p>
          <a:p>
            <a:pPr lvl="0"/>
            <a:r>
              <a:rPr lang="de-DE"/>
              <a:t>Seite x</a:t>
            </a:r>
          </a:p>
          <a:p>
            <a:pPr lvl="0"/>
            <a:r>
              <a:rPr lang="de-DE"/>
              <a:t>Seite x</a:t>
            </a:r>
          </a:p>
          <a:p>
            <a:pPr lvl="0"/>
            <a:r>
              <a:rPr lang="de-DE"/>
              <a:t>Seite x</a:t>
            </a:r>
          </a:p>
          <a:p>
            <a:pPr lvl="0"/>
            <a:r>
              <a:rPr lang="de-DE"/>
              <a:t>Seite x</a:t>
            </a:r>
          </a:p>
          <a:p>
            <a:pPr lvl="0"/>
            <a:r>
              <a:rPr lang="de-DE"/>
              <a:t>Seite x</a:t>
            </a:r>
          </a:p>
        </p:txBody>
      </p:sp>
    </p:spTree>
    <p:extLst>
      <p:ext uri="{BB962C8B-B14F-4D97-AF65-F5344CB8AC3E}">
        <p14:creationId xmlns:p14="http://schemas.microsoft.com/office/powerpoint/2010/main" val="35072466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Alt 1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5">
            <a:extLst>
              <a:ext uri="{FF2B5EF4-FFF2-40B4-BE49-F238E27FC236}">
                <a16:creationId xmlns:a16="http://schemas.microsoft.com/office/drawing/2014/main" id="{7A1C5BCE-13D3-49FD-B930-B4A9F09D83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25409" y="2967335"/>
            <a:ext cx="538002" cy="923330"/>
          </a:xfrm>
          <a:prstGeom prst="rect">
            <a:avLst/>
          </a:prstGeom>
          <a:solidFill>
            <a:schemeClr val="accent1"/>
          </a:solidFill>
        </p:spPr>
        <p:txBody>
          <a:bodyPr wrap="none" lIns="72000" rIns="72000">
            <a:spAutoFit/>
          </a:bodyPr>
          <a:lstStyle>
            <a:lvl1pPr algn="ctr">
              <a:defRPr sz="5998">
                <a:solidFill>
                  <a:schemeClr val="bg1"/>
                </a:solidFill>
                <a:latin typeface="Bandeins Strange Bold Extd Half" panose="00000500000000000000" pitchFamily="50" charset="0"/>
              </a:defRPr>
            </a:lvl1pPr>
          </a:lstStyle>
          <a:p>
            <a:r>
              <a:rPr lang="de-DE"/>
              <a:t>x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BC30E195-1886-4A76-A0A9-84BF06AD16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448686" y="205688"/>
            <a:ext cx="5291452" cy="345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Kapitelnummer Chapter </a:t>
            </a:r>
            <a:r>
              <a:rPr lang="de-DE" err="1"/>
              <a:t>number</a:t>
            </a:r>
            <a:r>
              <a:rPr lang="de-DE"/>
              <a:t> xx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BED4714-8DD7-7333-5EB7-FD895F43993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2" y="3"/>
            <a:ext cx="12188823" cy="6857997"/>
          </a:xfrm>
          <a:prstGeom prst="rect">
            <a:avLst/>
          </a:prstGeom>
          <a:noFill/>
        </p:spPr>
        <p:txBody>
          <a:bodyPr wrap="square" tIns="1368000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platzhalter nach dem Einfügen in den Hintergrund setzen</a:t>
            </a:r>
          </a:p>
          <a:p>
            <a:r>
              <a:rPr lang="de-DE"/>
              <a:t>Set </a:t>
            </a:r>
            <a:r>
              <a:rPr lang="de-DE" err="1"/>
              <a:t>image</a:t>
            </a:r>
            <a:r>
              <a:rPr lang="de-DE"/>
              <a:t> and </a:t>
            </a:r>
            <a:r>
              <a:rPr lang="de-DE" err="1"/>
              <a:t>place</a:t>
            </a:r>
            <a:r>
              <a:rPr lang="de-DE"/>
              <a:t>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nto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background</a:t>
            </a:r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17252E6-0849-717E-F1EE-1B0E8FB28FFD}"/>
              </a:ext>
            </a:extLst>
          </p:cNvPr>
          <p:cNvSpPr txBox="1"/>
          <p:nvPr userDrawn="1"/>
        </p:nvSpPr>
        <p:spPr bwMode="gray">
          <a:xfrm>
            <a:off x="11143646" y="5507633"/>
            <a:ext cx="766563" cy="923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5998">
                <a:latin typeface="Bandeins Strange" panose="00000500000000000000" pitchFamily="50" charset="0"/>
              </a:rPr>
              <a:t>→</a:t>
            </a:r>
            <a:endParaRPr lang="de-DE" sz="5998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24BBC27-E6DB-1BC2-B67C-0C92D638B09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5729" y="6580211"/>
            <a:ext cx="705416" cy="144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455650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Alt 2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D9D502-7638-A272-D916-BBF09CD33B3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13458" y="1"/>
            <a:ext cx="6075365" cy="6857997"/>
          </a:xfrm>
          <a:custGeom>
            <a:avLst/>
            <a:gdLst/>
            <a:ahLst/>
            <a:cxnLst/>
            <a:rect l="l" t="t" r="r" b="b"/>
            <a:pathLst>
              <a:path w="6095999" h="6857997">
                <a:moveTo>
                  <a:pt x="5324869" y="5763713"/>
                </a:moveTo>
                <a:cubicBezTo>
                  <a:pt x="5334553" y="5800797"/>
                  <a:pt x="5350618" y="5834642"/>
                  <a:pt x="5373065" y="5865249"/>
                </a:cubicBezTo>
                <a:cubicBezTo>
                  <a:pt x="5395513" y="5895856"/>
                  <a:pt x="5421103" y="5920177"/>
                  <a:pt x="5449837" y="5938211"/>
                </a:cubicBezTo>
                <a:lnTo>
                  <a:pt x="5064265" y="5938211"/>
                </a:lnTo>
                <a:lnTo>
                  <a:pt x="5064265" y="6026508"/>
                </a:lnTo>
                <a:lnTo>
                  <a:pt x="5451361" y="6026508"/>
                </a:lnTo>
                <a:cubicBezTo>
                  <a:pt x="5421897" y="6044589"/>
                  <a:pt x="5395862" y="6069005"/>
                  <a:pt x="5373256" y="6099755"/>
                </a:cubicBezTo>
                <a:cubicBezTo>
                  <a:pt x="5350650" y="6130505"/>
                  <a:pt x="5334521" y="6164255"/>
                  <a:pt x="5324869" y="6201006"/>
                </a:cubicBezTo>
                <a:lnTo>
                  <a:pt x="5418595" y="6201006"/>
                </a:lnTo>
                <a:cubicBezTo>
                  <a:pt x="5433176" y="6172040"/>
                  <a:pt x="5448209" y="6147336"/>
                  <a:pt x="5463694" y="6126895"/>
                </a:cubicBezTo>
                <a:cubicBezTo>
                  <a:pt x="5479179" y="6106453"/>
                  <a:pt x="5499066" y="6087282"/>
                  <a:pt x="5523356" y="6069382"/>
                </a:cubicBezTo>
                <a:cubicBezTo>
                  <a:pt x="5547646" y="6051482"/>
                  <a:pt x="5580289" y="6031863"/>
                  <a:pt x="5621287" y="6010523"/>
                </a:cubicBezTo>
                <a:lnTo>
                  <a:pt x="5621287" y="5954196"/>
                </a:lnTo>
                <a:cubicBezTo>
                  <a:pt x="5580289" y="5932856"/>
                  <a:pt x="5547646" y="5913236"/>
                  <a:pt x="5523356" y="5895336"/>
                </a:cubicBezTo>
                <a:cubicBezTo>
                  <a:pt x="5499066" y="5877436"/>
                  <a:pt x="5479179" y="5858266"/>
                  <a:pt x="5463694" y="5837824"/>
                </a:cubicBezTo>
                <a:cubicBezTo>
                  <a:pt x="5448209" y="5817382"/>
                  <a:pt x="5433176" y="5792678"/>
                  <a:pt x="5418595" y="5763713"/>
                </a:cubicBezTo>
                <a:close/>
                <a:moveTo>
                  <a:pt x="0" y="0"/>
                </a:moveTo>
                <a:lnTo>
                  <a:pt x="6095999" y="0"/>
                </a:lnTo>
                <a:lnTo>
                  <a:pt x="6095999" y="6857997"/>
                </a:lnTo>
                <a:lnTo>
                  <a:pt x="0" y="6857997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platzhalter</a:t>
            </a:r>
          </a:p>
          <a:p>
            <a:r>
              <a:rPr lang="de-DE"/>
              <a:t>Image </a:t>
            </a:r>
            <a:r>
              <a:rPr lang="de-DE" err="1"/>
              <a:t>placeholder</a:t>
            </a:r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BDC94DA-96EF-4879-9E97-34327D1E7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0889" y="1015999"/>
            <a:ext cx="5253255" cy="5184775"/>
          </a:xfrm>
          <a:prstGeom prst="rect">
            <a:avLst/>
          </a:prstGeom>
        </p:spPr>
        <p:txBody>
          <a:bodyPr anchor="ctr" anchorCtr="0"/>
          <a:lstStyle>
            <a:lvl1pPr algn="ctr">
              <a:defRPr sz="5998" cap="none" baseline="0"/>
            </a:lvl1pPr>
          </a:lstStyle>
          <a:p>
            <a:r>
              <a:rPr lang="de-DE"/>
              <a:t>Chapter</a:t>
            </a:r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2F9BF9EC-6DAE-4305-9906-13DFBE688E2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4413" y="0"/>
            <a:ext cx="0" cy="685799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76D434A-C59D-495D-B6ED-EECFE6DD14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80889" y="205688"/>
            <a:ext cx="5253256" cy="345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Kapitelnummer Chapter </a:t>
            </a:r>
            <a:r>
              <a:rPr lang="de-DE" err="1"/>
              <a:t>number</a:t>
            </a:r>
            <a:r>
              <a:rPr lang="de-DE"/>
              <a:t> xx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99B4E90-43E1-1A02-8995-68EDA10019A6}"/>
              </a:ext>
            </a:extLst>
          </p:cNvPr>
          <p:cNvSpPr txBox="1"/>
          <p:nvPr userDrawn="1"/>
        </p:nvSpPr>
        <p:spPr bwMode="gray">
          <a:xfrm>
            <a:off x="11143646" y="5507633"/>
            <a:ext cx="766563" cy="923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5998">
                <a:latin typeface="Bandeins Strange" panose="00000500000000000000" pitchFamily="50" charset="0"/>
              </a:rPr>
              <a:t>→</a:t>
            </a:r>
            <a:endParaRPr lang="de-DE" sz="5998"/>
          </a:p>
        </p:txBody>
      </p:sp>
    </p:spTree>
    <p:extLst>
      <p:ext uri="{BB962C8B-B14F-4D97-AF65-F5344CB8AC3E}">
        <p14:creationId xmlns:p14="http://schemas.microsoft.com/office/powerpoint/2010/main" val="2671428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26B43"/>
          </p15:clr>
        </p15:guide>
        <p15:guide id="2" pos="3613">
          <p15:clr>
            <a:srgbClr val="F26B43"/>
          </p15:clr>
        </p15:guide>
        <p15:guide id="3" pos="4067">
          <p15:clr>
            <a:srgbClr val="F26B43"/>
          </p15:clr>
        </p15:guide>
        <p15:guide id="4" orient="horz" pos="640">
          <p15:clr>
            <a:srgbClr val="F26B43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Alt 3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6">
            <a:extLst>
              <a:ext uri="{FF2B5EF4-FFF2-40B4-BE49-F238E27FC236}">
                <a16:creationId xmlns:a16="http://schemas.microsoft.com/office/drawing/2014/main" id="{2AC61314-1D17-4530-B95B-C89FBF9F1D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94412" y="3046405"/>
            <a:ext cx="6094413" cy="72327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399" b="1" cap="all" baseline="0">
                <a:effectLst>
                  <a:outerShdw blurRad="635000" algn="tl">
                    <a:srgbClr val="000000">
                      <a:alpha val="50000"/>
                    </a:srgbClr>
                  </a:outerShdw>
                </a:effectLst>
                <a:latin typeface="Bandeins Strange Bold Extd Half" panose="00000500000000000000" pitchFamily="50" charset="0"/>
              </a:defRPr>
            </a:lvl1pPr>
            <a:lvl2pPr marL="0" indent="0">
              <a:buNone/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3pPr>
            <a:lvl4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89EE909E-1F40-4794-A7E7-59DD326BC7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662477" y="2981871"/>
            <a:ext cx="863871" cy="85234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  <a:effectLst>
            <a:outerShdw blurRad="635000" algn="tl" rotWithShape="0">
              <a:prstClr val="black">
                <a:alpha val="50000"/>
              </a:prstClr>
            </a:outerShdw>
          </a:effectLst>
        </p:spPr>
        <p:txBody>
          <a:bodyPr/>
          <a:lstStyle>
            <a:lvl1pPr marL="0" indent="0" algn="ctr">
              <a:buNone/>
              <a:defRPr sz="100">
                <a:noFill/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7" name="Textplatzhalter 26">
            <a:extLst>
              <a:ext uri="{FF2B5EF4-FFF2-40B4-BE49-F238E27FC236}">
                <a16:creationId xmlns:a16="http://schemas.microsoft.com/office/drawing/2014/main" id="{AB545C8E-8DBC-4296-B80D-88E0CC876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-2649" y="3046405"/>
            <a:ext cx="6094413" cy="72327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399" b="1" cap="all" baseline="0">
                <a:effectLst>
                  <a:outerShdw blurRad="635000" algn="tl">
                    <a:srgbClr val="000000">
                      <a:alpha val="50000"/>
                    </a:srgbClr>
                  </a:outerShdw>
                </a:effectLst>
                <a:latin typeface="Bandeins Strange Bold Extd Half" panose="00000500000000000000" pitchFamily="50" charset="0"/>
              </a:defRPr>
            </a:lvl1pPr>
            <a:lvl2pPr marL="0" indent="0">
              <a:buNone/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3pPr>
            <a:lvl4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3" name="Bildplatzhalter 6">
            <a:extLst>
              <a:ext uri="{FF2B5EF4-FFF2-40B4-BE49-F238E27FC236}">
                <a16:creationId xmlns:a16="http://schemas.microsoft.com/office/drawing/2014/main" id="{B17F689D-5A48-46D3-92A1-654983BBF9A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094412" y="0"/>
            <a:ext cx="6094413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799"/>
            </a:lvl1pPr>
          </a:lstStyle>
          <a:p>
            <a:r>
              <a:rPr lang="de-DE"/>
              <a:t>Bild über Klick auf Icon hinzufügen und anschließend über Rechtsklick in den Hintergrund setzen</a:t>
            </a:r>
          </a:p>
          <a:p>
            <a:endParaRPr lang="de-DE"/>
          </a:p>
          <a:p>
            <a:r>
              <a:rPr lang="de-DE"/>
              <a:t>Click on Add </a:t>
            </a:r>
            <a:r>
              <a:rPr lang="de-DE" err="1"/>
              <a:t>icon</a:t>
            </a:r>
            <a:r>
              <a:rPr lang="de-DE"/>
              <a:t> and </a:t>
            </a:r>
            <a:r>
              <a:rPr lang="de-DE" err="1"/>
              <a:t>then</a:t>
            </a:r>
            <a:r>
              <a:rPr lang="de-DE"/>
              <a:t> </a:t>
            </a:r>
            <a:r>
              <a:rPr lang="de-DE" err="1"/>
              <a:t>right-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lac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mage</a:t>
            </a:r>
            <a:r>
              <a:rPr lang="de-DE"/>
              <a:t> 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background</a:t>
            </a:r>
            <a:r>
              <a:rPr lang="de-DE"/>
              <a:t>  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239B98A-8DF4-2A1C-3706-20ABAA196B8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6094412" cy="6858000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799"/>
            </a:lvl1pPr>
          </a:lstStyle>
          <a:p>
            <a:r>
              <a:rPr lang="de-DE"/>
              <a:t>Bild über Klick auf Icon hinzufügen und anschließend über Rechtsklick in den Hintergrund setzen</a:t>
            </a:r>
          </a:p>
          <a:p>
            <a:endParaRPr lang="de-DE"/>
          </a:p>
          <a:p>
            <a:r>
              <a:rPr lang="de-DE"/>
              <a:t>Click on Add </a:t>
            </a:r>
            <a:r>
              <a:rPr lang="de-DE" err="1"/>
              <a:t>icon</a:t>
            </a:r>
            <a:r>
              <a:rPr lang="de-DE"/>
              <a:t> and </a:t>
            </a:r>
            <a:r>
              <a:rPr lang="de-DE" err="1"/>
              <a:t>then</a:t>
            </a:r>
            <a:r>
              <a:rPr lang="de-DE"/>
              <a:t> </a:t>
            </a:r>
            <a:r>
              <a:rPr lang="de-DE" err="1"/>
              <a:t>right-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lac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mage</a:t>
            </a:r>
            <a:r>
              <a:rPr lang="de-DE"/>
              <a:t> 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background</a:t>
            </a:r>
            <a:r>
              <a:rPr lang="de-DE"/>
              <a:t>  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277D7097-E1A1-E01F-F579-DE56771F97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5729" y="6580211"/>
            <a:ext cx="705416" cy="144000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285898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Divider Alt 3 Inverted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FC9040B-764A-623E-DAEB-1DB7A3708A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1585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0" imgH="481" progId="TCLayout.ActiveDocument.1">
                  <p:embed/>
                </p:oleObj>
              </mc:Choice>
              <mc:Fallback>
                <p:oleObj name="think-cell Folie" r:id="rId3" imgW="480" imgH="48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C9040B-764A-623E-DAEB-1DB7A3708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26">
            <a:extLst>
              <a:ext uri="{FF2B5EF4-FFF2-40B4-BE49-F238E27FC236}">
                <a16:creationId xmlns:a16="http://schemas.microsoft.com/office/drawing/2014/main" id="{2AC61314-1D17-4530-B95B-C89FBF9F1D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94412" y="3046405"/>
            <a:ext cx="6094413" cy="72327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399" b="1" cap="all" baseline="0">
                <a:solidFill>
                  <a:schemeClr val="bg1"/>
                </a:solidFill>
                <a:effectLst>
                  <a:outerShdw blurRad="635000" algn="tl">
                    <a:srgbClr val="000000">
                      <a:alpha val="50000"/>
                    </a:srgbClr>
                  </a:outerShdw>
                </a:effectLst>
                <a:latin typeface="Bandeins Strange Bold Extd Half" panose="00000500000000000000" pitchFamily="50" charset="0"/>
              </a:defRPr>
            </a:lvl1pPr>
            <a:lvl2pPr marL="0" indent="0">
              <a:buNone/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3pPr>
            <a:lvl4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7" name="Textplatzhalter 26">
            <a:extLst>
              <a:ext uri="{FF2B5EF4-FFF2-40B4-BE49-F238E27FC236}">
                <a16:creationId xmlns:a16="http://schemas.microsoft.com/office/drawing/2014/main" id="{AB545C8E-8DBC-4296-B80D-88E0CC876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-2649" y="3046405"/>
            <a:ext cx="6094413" cy="72327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399" b="1" cap="all" baseline="0">
                <a:solidFill>
                  <a:schemeClr val="bg1"/>
                </a:solidFill>
                <a:effectLst>
                  <a:outerShdw blurRad="635000" algn="tl">
                    <a:srgbClr val="000000">
                      <a:alpha val="50000"/>
                    </a:srgbClr>
                  </a:outerShdw>
                </a:effectLst>
                <a:latin typeface="Bandeins Strange Bold Extd Half" panose="00000500000000000000" pitchFamily="50" charset="0"/>
              </a:defRPr>
            </a:lvl1pPr>
            <a:lvl2pPr marL="0" indent="0">
              <a:buNone/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3pPr>
            <a:lvl4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E98A9C7F-C131-D647-AB33-10FB5C0AF15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094412" y="0"/>
            <a:ext cx="6094413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799"/>
            </a:lvl1pPr>
          </a:lstStyle>
          <a:p>
            <a:r>
              <a:rPr lang="de-DE"/>
              <a:t>Bild über Klick auf Icon hinzufügen und anschließend über Rechtsklick in den Hintergrund setzen</a:t>
            </a:r>
          </a:p>
          <a:p>
            <a:endParaRPr lang="de-DE"/>
          </a:p>
          <a:p>
            <a:r>
              <a:rPr lang="de-DE"/>
              <a:t>Click on Add </a:t>
            </a:r>
            <a:r>
              <a:rPr lang="de-DE" err="1"/>
              <a:t>icon</a:t>
            </a:r>
            <a:r>
              <a:rPr lang="de-DE"/>
              <a:t> and </a:t>
            </a:r>
            <a:r>
              <a:rPr lang="de-DE" err="1"/>
              <a:t>then</a:t>
            </a:r>
            <a:r>
              <a:rPr lang="de-DE"/>
              <a:t> </a:t>
            </a:r>
            <a:r>
              <a:rPr lang="de-DE" err="1"/>
              <a:t>right-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lac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mage</a:t>
            </a:r>
            <a:r>
              <a:rPr lang="de-DE"/>
              <a:t> 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background</a:t>
            </a:r>
            <a:r>
              <a:rPr lang="de-DE"/>
              <a:t>  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DE4BD72-5C74-EEB3-32C9-90EA8EDF4E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6094412" cy="6858000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799"/>
            </a:lvl1pPr>
          </a:lstStyle>
          <a:p>
            <a:r>
              <a:rPr lang="de-DE"/>
              <a:t>Bild über Klick auf Icon hinzufügen und anschließend über Rechtsklick in den Hintergrund setzen</a:t>
            </a:r>
          </a:p>
          <a:p>
            <a:endParaRPr lang="de-DE"/>
          </a:p>
          <a:p>
            <a:r>
              <a:rPr lang="de-DE"/>
              <a:t>Click on Add </a:t>
            </a:r>
            <a:r>
              <a:rPr lang="de-DE" err="1"/>
              <a:t>icon</a:t>
            </a:r>
            <a:r>
              <a:rPr lang="de-DE"/>
              <a:t> and </a:t>
            </a:r>
            <a:r>
              <a:rPr lang="de-DE" err="1"/>
              <a:t>then</a:t>
            </a:r>
            <a:r>
              <a:rPr lang="de-DE"/>
              <a:t> </a:t>
            </a:r>
            <a:r>
              <a:rPr lang="de-DE" err="1"/>
              <a:t>right-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lac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mage</a:t>
            </a:r>
            <a:r>
              <a:rPr lang="de-DE"/>
              <a:t> 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background</a:t>
            </a:r>
            <a:r>
              <a:rPr lang="de-DE"/>
              <a:t>  </a:t>
            </a:r>
          </a:p>
        </p:txBody>
      </p:sp>
      <p:sp>
        <p:nvSpPr>
          <p:cNvPr id="4" name="Textplatzhalter 9">
            <a:extLst>
              <a:ext uri="{FF2B5EF4-FFF2-40B4-BE49-F238E27FC236}">
                <a16:creationId xmlns:a16="http://schemas.microsoft.com/office/drawing/2014/main" id="{2FD20BC4-62B2-9142-E44D-6DFFD2E2F3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5729" y="6580211"/>
            <a:ext cx="705416" cy="144000"/>
          </a:xfrm>
          <a:prstGeom prst="rect">
            <a:avLst/>
          </a:prstGeom>
          <a:blipFill>
            <a:blip>
              <a:lum bright="100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26F1608-79CD-5243-26DB-81CF35E99B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662477" y="2981871"/>
            <a:ext cx="863871" cy="852340"/>
          </a:xfrm>
          <a:prstGeom prst="rect">
            <a:avLst/>
          </a:prstGeom>
          <a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635000" algn="tl" rotWithShape="0">
              <a:prstClr val="black">
                <a:alpha val="50000"/>
              </a:prstClr>
            </a:outerShdw>
          </a:effectLst>
        </p:spPr>
        <p:txBody>
          <a:bodyPr/>
          <a:lstStyle>
            <a:lvl1pPr marL="0" indent="0" algn="ctr">
              <a:buNone/>
              <a:defRPr sz="100">
                <a:noFill/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121046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le, Subtitel2, 2 Text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45D09A3-9C11-47EF-BEBD-8E77DCCD3E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0888" y="1773244"/>
            <a:ext cx="5429276" cy="31273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799" b="1" cap="all" baseline="0">
                <a:latin typeface="+mj-lt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A5FBA67F-DCCF-4ACE-8C80-7BF71F0B54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80539" y="1773244"/>
            <a:ext cx="5430985" cy="31273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799" b="1" cap="all" baseline="0">
                <a:latin typeface="+mj-lt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B0FBC8E6-AD0D-A64F-B262-AFDA56FD47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0887" y="555464"/>
            <a:ext cx="11229075" cy="461665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/>
              <a:t>Titel/</a:t>
            </a:r>
            <a:r>
              <a:rPr lang="de-DE" err="1"/>
              <a:t>titel</a:t>
            </a:r>
            <a:endParaRPr lang="de-DE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9209B4D6-8689-AF48-B292-3F81EB44E4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0888" y="1017677"/>
            <a:ext cx="11229075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/</a:t>
            </a:r>
            <a:r>
              <a:rPr lang="de-DE" err="1"/>
              <a:t>subtitle</a:t>
            </a:r>
            <a:endParaRPr lang="de-DE"/>
          </a:p>
        </p:txBody>
      </p:sp>
      <p:cxnSp>
        <p:nvCxnSpPr>
          <p:cNvPr id="13" name="Gerader Verbinder 16">
            <a:extLst>
              <a:ext uri="{FF2B5EF4-FFF2-40B4-BE49-F238E27FC236}">
                <a16:creationId xmlns:a16="http://schemas.microsoft.com/office/drawing/2014/main" id="{BE84DCBC-5239-2E42-AC85-139FA83B164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2">
            <a:extLst>
              <a:ext uri="{FF2B5EF4-FFF2-40B4-BE49-F238E27FC236}">
                <a16:creationId xmlns:a16="http://schemas.microsoft.com/office/drawing/2014/main" id="{89F2B067-D868-864B-AD87-00B6A81BC389}"/>
              </a:ext>
            </a:extLst>
          </p:cNvPr>
          <p:cNvSpPr/>
          <p:nvPr userDrawn="1"/>
        </p:nvSpPr>
        <p:spPr bwMode="gray"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601A898-1930-4EDF-BBA7-FCA4A13B409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 bwMode="gray">
          <a:xfrm>
            <a:off x="480888" y="2296800"/>
            <a:ext cx="5429424" cy="3903975"/>
          </a:xfrm>
        </p:spPr>
        <p:txBody>
          <a:bodyPr/>
          <a:lstStyle>
            <a:lvl1pPr>
              <a:buNone/>
              <a:defRPr/>
            </a:lvl1pPr>
            <a:lvl6pPr marL="898255" indent="-179334">
              <a:tabLst/>
              <a:defRPr/>
            </a:lvl6pPr>
          </a:lstStyle>
          <a:p>
            <a:pPr lvl="0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</p:txBody>
      </p:sp>
      <p:sp>
        <p:nvSpPr>
          <p:cNvPr id="20" name="Inhaltsplatzhalter 19">
            <a:extLst>
              <a:ext uri="{FF2B5EF4-FFF2-40B4-BE49-F238E27FC236}">
                <a16:creationId xmlns:a16="http://schemas.microsoft.com/office/drawing/2014/main" id="{A167F747-23E2-4AAF-B718-2209A843CA8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 bwMode="gray">
          <a:xfrm>
            <a:off x="6280539" y="2296799"/>
            <a:ext cx="5430985" cy="3902400"/>
          </a:xfrm>
        </p:spPr>
        <p:txBody>
          <a:bodyPr/>
          <a:lstStyle>
            <a:lvl1pPr>
              <a:buNone/>
              <a:defRPr/>
            </a:lvl1pPr>
            <a:lvl2pPr>
              <a:defRPr/>
            </a:lvl2pPr>
            <a:lvl6pPr marL="898255" indent="-179334">
              <a:tabLst/>
              <a:defRPr/>
            </a:lvl6pPr>
          </a:lstStyle>
          <a:p>
            <a:pPr lvl="0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5C957480-E091-9015-10F2-FC44832BA35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78781" y="365539"/>
            <a:ext cx="11229075" cy="12465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E009A65F-F17E-8279-F3DF-9A522719F5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1558" y="6577201"/>
            <a:ext cx="9216298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b="0" i="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237423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0">
          <p15:clr>
            <a:srgbClr val="F26B43"/>
          </p15:clr>
        </p15:guide>
        <p15:guide id="2" orient="horz" pos="1117">
          <p15:clr>
            <a:srgbClr val="F26B43"/>
          </p15:clr>
        </p15:guide>
        <p15:guide id="3" pos="3840">
          <p15:clr>
            <a:srgbClr val="F26B43"/>
          </p15:clr>
        </p15:guide>
        <p15:guide id="4" pos="3727">
          <p15:clr>
            <a:srgbClr val="F26B43"/>
          </p15:clr>
        </p15:guide>
        <p15:guide id="5" pos="3953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le, Subtitel2, 3 Text Contain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05DFF6A4-DBFB-49E1-AD31-1179F5F620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0888" y="1773244"/>
            <a:ext cx="3501888" cy="31273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799" b="1" cap="all" baseline="0">
                <a:latin typeface="+mj-lt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BB6EDACB-9F31-48A3-A128-2277796B3D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343735" y="1773244"/>
            <a:ext cx="3501888" cy="31273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799" b="1" cap="all" baseline="0">
                <a:latin typeface="+mj-lt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16583AC3-39D1-4AAC-95CA-872DEC425E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206583" y="1773244"/>
            <a:ext cx="3501888" cy="31273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799" b="1" cap="all" baseline="0">
                <a:latin typeface="+mj-lt"/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6D3F957D-5835-2E4D-B51A-55F94D43F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0888" y="555464"/>
            <a:ext cx="11229075" cy="461665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/>
              <a:t>Titel/titl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29EE8512-0353-A74E-A3E9-ED27BB6A5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80888" y="1017677"/>
            <a:ext cx="11229075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/</a:t>
            </a:r>
            <a:r>
              <a:rPr lang="de-DE" err="1"/>
              <a:t>subtitle</a:t>
            </a:r>
            <a:endParaRPr lang="de-DE"/>
          </a:p>
        </p:txBody>
      </p:sp>
      <p:cxnSp>
        <p:nvCxnSpPr>
          <p:cNvPr id="23" name="Gerader Verbinder 16">
            <a:extLst>
              <a:ext uri="{FF2B5EF4-FFF2-40B4-BE49-F238E27FC236}">
                <a16:creationId xmlns:a16="http://schemas.microsoft.com/office/drawing/2014/main" id="{514D7062-9DD5-2D47-872F-35713791AD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12">
            <a:extLst>
              <a:ext uri="{FF2B5EF4-FFF2-40B4-BE49-F238E27FC236}">
                <a16:creationId xmlns:a16="http://schemas.microsoft.com/office/drawing/2014/main" id="{B90641F5-4EAF-314B-AA21-C9494A5C5776}"/>
              </a:ext>
            </a:extLst>
          </p:cNvPr>
          <p:cNvSpPr/>
          <p:nvPr userDrawn="1"/>
        </p:nvSpPr>
        <p:spPr bwMode="gray"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FCA9E5C-D5E5-4BF4-8784-E6085664759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 bwMode="gray">
          <a:xfrm>
            <a:off x="4342269" y="2295525"/>
            <a:ext cx="3501888" cy="3902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8C6A1FE-4A04-4AE5-BB75-37489731984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8206825" y="2295524"/>
            <a:ext cx="3501888" cy="3902400"/>
          </a:xfrm>
        </p:spPr>
        <p:txBody>
          <a:bodyPr/>
          <a:lstStyle>
            <a:lvl1pPr>
              <a:buNone/>
              <a:defRPr/>
            </a:lvl1pPr>
            <a:lvl3pPr>
              <a:defRPr/>
            </a:lvl3pPr>
          </a:lstStyle>
          <a:p>
            <a:pPr lvl="0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555463CA-6A0A-42E1-B273-1EC1EC5DC75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 bwMode="gray">
          <a:xfrm>
            <a:off x="480888" y="2295525"/>
            <a:ext cx="3501113" cy="3902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E751F4A7-008A-E80D-D528-B7683FB777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78781" y="365539"/>
            <a:ext cx="11229075" cy="12465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449DDB8B-88F5-070E-3E20-74DBFF3EC0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1558" y="6577201"/>
            <a:ext cx="9216298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b="0" i="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39194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0">
          <p15:clr>
            <a:srgbClr val="F26B43"/>
          </p15:clr>
        </p15:guide>
        <p15:guide id="2" orient="horz" pos="1117">
          <p15:clr>
            <a:srgbClr val="F26B43"/>
          </p15:clr>
        </p15:guide>
        <p15:guide id="3" pos="2514">
          <p15:clr>
            <a:srgbClr val="F26B43"/>
          </p15:clr>
        </p15:guide>
        <p15:guide id="4" pos="2736">
          <p15:clr>
            <a:srgbClr val="F26B43"/>
          </p15:clr>
        </p15:guide>
        <p15:guide id="5" pos="4944">
          <p15:clr>
            <a:srgbClr val="F26B43"/>
          </p15:clr>
        </p15:guide>
        <p15:guide id="6" pos="5169">
          <p15:clr>
            <a:srgbClr val="F26B43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Text Content 1/2 Graphic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0762ACD0-6CFF-6945-B453-BF9FD3CF6AC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4413" y="0"/>
            <a:ext cx="0" cy="645593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CA7B17E3-7A59-0344-B7E3-6FAD0FFF44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0889" y="1017677"/>
            <a:ext cx="5254631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/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22C6F52-4B86-4D48-9BDB-2E37C5A964D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79381" y="6220275"/>
            <a:ext cx="5254631" cy="21544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700"/>
            </a:lvl1pPr>
            <a:lvl2pPr marL="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/>
              <a:t>Fußnote: 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4398849-F03D-6441-83CB-E610407022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0887" y="555464"/>
            <a:ext cx="5254631" cy="46166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/title</a:t>
            </a:r>
          </a:p>
        </p:txBody>
      </p:sp>
      <p:cxnSp>
        <p:nvCxnSpPr>
          <p:cNvPr id="21" name="Gerader Verbinder 16">
            <a:extLst>
              <a:ext uri="{FF2B5EF4-FFF2-40B4-BE49-F238E27FC236}">
                <a16:creationId xmlns:a16="http://schemas.microsoft.com/office/drawing/2014/main" id="{3666DADE-0D62-F946-B47F-F3CB27FEC80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2">
            <a:extLst>
              <a:ext uri="{FF2B5EF4-FFF2-40B4-BE49-F238E27FC236}">
                <a16:creationId xmlns:a16="http://schemas.microsoft.com/office/drawing/2014/main" id="{55FD76AD-C768-C14B-9A41-A3C222370A0F}"/>
              </a:ext>
            </a:extLst>
          </p:cNvPr>
          <p:cNvSpPr/>
          <p:nvPr userDrawn="1"/>
        </p:nvSpPr>
        <p:spPr bwMode="gray"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0E1C7D1-30A5-4961-B7B4-FCCDB675E7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80887" y="1773243"/>
            <a:ext cx="5254631" cy="4437062"/>
          </a:xfrm>
        </p:spPr>
        <p:txBody>
          <a:bodyPr/>
          <a:lstStyle>
            <a:lvl1pPr>
              <a:buNone/>
              <a:defRPr/>
            </a:lvl1pPr>
            <a:lvl6pPr marL="898255" indent="-179334">
              <a:tabLst/>
              <a:defRPr/>
            </a:lvl6pPr>
          </a:lstStyle>
          <a:p>
            <a:pPr lvl="0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</p:txBody>
      </p:sp>
      <p:sp>
        <p:nvSpPr>
          <p:cNvPr id="2" name="Textplatzhalter 11">
            <a:extLst>
              <a:ext uri="{FF2B5EF4-FFF2-40B4-BE49-F238E27FC236}">
                <a16:creationId xmlns:a16="http://schemas.microsoft.com/office/drawing/2014/main" id="{DCCD652C-065A-3DB5-3DF9-A0A73D4DB7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78781" y="365539"/>
            <a:ext cx="5254631" cy="12465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C01686CC-2B1D-6FDF-6455-F941945AC77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113607" y="0"/>
            <a:ext cx="6075218" cy="645636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6A67314F-3551-3F86-E755-BF42A61949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b="0" i="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1630395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2" orient="horz" pos="640">
          <p15:clr>
            <a:srgbClr val="F26B43"/>
          </p15:clr>
        </p15:guide>
        <p15:guide id="3" pos="3840">
          <p15:clr>
            <a:srgbClr val="F26B43"/>
          </p15:clr>
        </p15:guide>
        <p15:guide id="4" pos="3613">
          <p15:clr>
            <a:srgbClr val="F26B43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Text Content 2/3 Graphic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 Verbindung 8">
            <a:extLst>
              <a:ext uri="{FF2B5EF4-FFF2-40B4-BE49-F238E27FC236}">
                <a16:creationId xmlns:a16="http://schemas.microsoft.com/office/drawing/2014/main" id="{C9104B42-D448-7A46-B612-1F7F3AF7FED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223238" y="1"/>
            <a:ext cx="0" cy="645593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>
            <a:extLst>
              <a:ext uri="{FF2B5EF4-FFF2-40B4-BE49-F238E27FC236}">
                <a16:creationId xmlns:a16="http://schemas.microsoft.com/office/drawing/2014/main" id="{7DF13997-0AA3-6B41-B633-3A06B82681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0888" y="555464"/>
            <a:ext cx="3382080" cy="461665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/>
              <a:t>Titel/titl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B5AB52F-23FD-8145-AC51-6C274C53E1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0887" y="1017677"/>
            <a:ext cx="3383119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/</a:t>
            </a:r>
            <a:r>
              <a:rPr lang="de-DE" err="1"/>
              <a:t>subtitle</a:t>
            </a:r>
            <a:endParaRPr lang="de-DE"/>
          </a:p>
        </p:txBody>
      </p:sp>
      <p:cxnSp>
        <p:nvCxnSpPr>
          <p:cNvPr id="21" name="Gerader Verbinder 16">
            <a:extLst>
              <a:ext uri="{FF2B5EF4-FFF2-40B4-BE49-F238E27FC236}">
                <a16:creationId xmlns:a16="http://schemas.microsoft.com/office/drawing/2014/main" id="{A78882B6-3455-4341-AD7B-5276BCD3D7A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2">
            <a:extLst>
              <a:ext uri="{FF2B5EF4-FFF2-40B4-BE49-F238E27FC236}">
                <a16:creationId xmlns:a16="http://schemas.microsoft.com/office/drawing/2014/main" id="{02DA6CDE-7ED0-BC42-A5FA-AFAAAB3E13E6}"/>
              </a:ext>
            </a:extLst>
          </p:cNvPr>
          <p:cNvSpPr/>
          <p:nvPr userDrawn="1"/>
        </p:nvSpPr>
        <p:spPr bwMode="gray"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6357A1B-086B-428D-BF66-532BB7716B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80888" y="1773244"/>
            <a:ext cx="3382081" cy="4437061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</p:txBody>
      </p:sp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76B1D58E-D576-A402-B98D-E8323419E8F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78781" y="365539"/>
            <a:ext cx="3383119" cy="12465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FB99164B-1D7C-530D-8544-C0EA572A051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241946" y="0"/>
            <a:ext cx="7944499" cy="645636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EFABDE59-C783-FDDF-ACAF-223CEF279A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b="0" i="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144067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0">
          <p15:clr>
            <a:srgbClr val="F26B43"/>
          </p15:clr>
        </p15:guide>
        <p15:guide id="2" orient="horz" pos="1117">
          <p15:clr>
            <a:srgbClr val="F26B43"/>
          </p15:clr>
        </p15:guide>
        <p15:guide id="3" pos="2661">
          <p15:clr>
            <a:srgbClr val="F26B43"/>
          </p15:clr>
        </p15:guide>
        <p15:guide id="4" pos="2434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Text Content 1/3 Graphic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3E6FEA05-3678-5E41-B361-AA3411EBE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0888" y="555464"/>
            <a:ext cx="7126019" cy="461665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/>
              <a:t>Titel/titl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43F6144-4345-D148-A140-8544C6A8E2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0888" y="1017677"/>
            <a:ext cx="7126019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999"/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/</a:t>
            </a:r>
            <a:r>
              <a:rPr lang="de-DE" err="1"/>
              <a:t>subtitle</a:t>
            </a:r>
            <a:endParaRPr lang="de-DE"/>
          </a:p>
        </p:txBody>
      </p:sp>
      <p:cxnSp>
        <p:nvCxnSpPr>
          <p:cNvPr id="18" name="Gerader Verbinder 16">
            <a:extLst>
              <a:ext uri="{FF2B5EF4-FFF2-40B4-BE49-F238E27FC236}">
                <a16:creationId xmlns:a16="http://schemas.microsoft.com/office/drawing/2014/main" id="{20F488C5-9F27-0848-93B9-2633ADFFA94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2">
            <a:extLst>
              <a:ext uri="{FF2B5EF4-FFF2-40B4-BE49-F238E27FC236}">
                <a16:creationId xmlns:a16="http://schemas.microsoft.com/office/drawing/2014/main" id="{4D4C9824-D908-854A-9812-4CC331276439}"/>
              </a:ext>
            </a:extLst>
          </p:cNvPr>
          <p:cNvSpPr/>
          <p:nvPr userDrawn="1"/>
        </p:nvSpPr>
        <p:spPr bwMode="gray"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209B36-B9FF-4E35-8112-8364846B1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80888" y="1773243"/>
            <a:ext cx="7126019" cy="4437062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</p:txBody>
      </p:sp>
      <p:cxnSp>
        <p:nvCxnSpPr>
          <p:cNvPr id="15" name="Gerade Verbindung 8">
            <a:extLst>
              <a:ext uri="{FF2B5EF4-FFF2-40B4-BE49-F238E27FC236}">
                <a16:creationId xmlns:a16="http://schemas.microsoft.com/office/drawing/2014/main" id="{95BE7C90-DD1E-8148-BC3A-722C55E13A3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964725" y="0"/>
            <a:ext cx="0" cy="6469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platzhalter 11">
            <a:extLst>
              <a:ext uri="{FF2B5EF4-FFF2-40B4-BE49-F238E27FC236}">
                <a16:creationId xmlns:a16="http://schemas.microsoft.com/office/drawing/2014/main" id="{96CE9CCA-26E2-C022-0ECA-7E3C7A89DB7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78781" y="365539"/>
            <a:ext cx="7126144" cy="12465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err="1"/>
              <a:t>Classification</a:t>
            </a:r>
            <a:r>
              <a:rPr lang="de-DE"/>
              <a:t>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5" name="Bildplatzhalter 7">
            <a:extLst>
              <a:ext uri="{FF2B5EF4-FFF2-40B4-BE49-F238E27FC236}">
                <a16:creationId xmlns:a16="http://schemas.microsoft.com/office/drawing/2014/main" id="{9BB8CC89-9384-53A5-CDB2-6652AEA11CC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7986220" y="0"/>
            <a:ext cx="4202605" cy="645636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20E7C6C0-DED7-717A-C687-588A8C5CF1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1558" y="6577201"/>
            <a:ext cx="9216286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b="0" i="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4219527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2" orient="horz" pos="640">
          <p15:clr>
            <a:srgbClr val="F26B43"/>
          </p15:clr>
        </p15:guide>
        <p15:guide id="3" pos="5019">
          <p15:clr>
            <a:srgbClr val="F26B43"/>
          </p15:clr>
        </p15:guide>
        <p15:guide id="4" pos="4793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r Verbinder 16">
            <a:extLst>
              <a:ext uri="{FF2B5EF4-FFF2-40B4-BE49-F238E27FC236}">
                <a16:creationId xmlns:a16="http://schemas.microsoft.com/office/drawing/2014/main" id="{78B3225C-25C1-9145-8D5B-6386B208F34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2">
            <a:extLst>
              <a:ext uri="{FF2B5EF4-FFF2-40B4-BE49-F238E27FC236}">
                <a16:creationId xmlns:a16="http://schemas.microsoft.com/office/drawing/2014/main" id="{D1BC3677-869E-3448-B1A4-0DC9493B74BC}"/>
              </a:ext>
            </a:extLst>
          </p:cNvPr>
          <p:cNvSpPr/>
          <p:nvPr userDrawn="1"/>
        </p:nvSpPr>
        <p:spPr bwMode="gray"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7B764916-8F83-934E-DBB9-922D3B80CA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b="0" i="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1207009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3" pos="3840">
          <p15:clr>
            <a:srgbClr val="5ACBF0"/>
          </p15:clr>
        </p15:guide>
        <p15:guide id="4" pos="2661">
          <p15:clr>
            <a:srgbClr val="F26B43"/>
          </p15:clr>
        </p15:guide>
        <p15:guide id="5" pos="1481">
          <p15:clr>
            <a:srgbClr val="F26B43"/>
          </p15:clr>
        </p15:guide>
        <p15:guide id="6" pos="5019">
          <p15:clr>
            <a:srgbClr val="F26B43"/>
          </p15:clr>
        </p15:guide>
        <p15:guide id="7" pos="6199">
          <p15:clr>
            <a:srgbClr val="F26B43"/>
          </p15:clr>
        </p15:guide>
        <p15:guide id="8" pos="3953">
          <p15:clr>
            <a:srgbClr val="F26B43"/>
          </p15:clr>
        </p15:guide>
        <p15:guide id="9" pos="3727">
          <p15:clr>
            <a:srgbClr val="F26B43"/>
          </p15:clr>
        </p15:guide>
        <p15:guide id="10" orient="horz" pos="640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938C592-20F1-B543-B8A4-E591AEFE7E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887" y="1763713"/>
            <a:ext cx="11226971" cy="443706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en ExtraBold" pitchFamily="2" charset="0"/>
              </a:defRPr>
            </a:lvl1pPr>
            <a:lvl2pPr>
              <a:defRPr b="0" i="0">
                <a:latin typeface="Sen ExtraBold" pitchFamily="2" charset="0"/>
              </a:defRPr>
            </a:lvl2pPr>
            <a:lvl3pPr>
              <a:defRPr b="0" i="0">
                <a:latin typeface="Sen ExtraBold" pitchFamily="2" charset="0"/>
              </a:defRPr>
            </a:lvl3pPr>
            <a:lvl4pPr>
              <a:defRPr b="0" i="0">
                <a:latin typeface="Sen ExtraBold" pitchFamily="2" charset="0"/>
              </a:defRPr>
            </a:lvl4pPr>
            <a:lvl5pPr>
              <a:defRPr b="0" i="0">
                <a:latin typeface="Sen ExtraBol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4" name="Textplatzhalter 11">
            <a:extLst>
              <a:ext uri="{FF2B5EF4-FFF2-40B4-BE49-F238E27FC236}">
                <a16:creationId xmlns:a16="http://schemas.microsoft.com/office/drawing/2014/main" id="{E255202F-7BB2-EF4E-84BC-E7D92A2639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 b="0" i="0">
                <a:latin typeface="Sen ExtraBold" pitchFamily="2" charset="0"/>
              </a:defRPr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CC03B78-5F4B-C54B-A9BA-9BB15F39B7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380" y="6220275"/>
            <a:ext cx="11226971" cy="21544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700" b="0" i="0">
                <a:latin typeface="Sen ExtraBold" pitchFamily="2" charset="0"/>
              </a:defRPr>
            </a:lvl1pPr>
            <a:lvl2pPr marL="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/>
              <a:t>Fußnote: 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3B75D204-0D9F-8B4F-91C9-831E6F3583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6971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240812-7FD3-DA46-AC86-67C09861A799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8" name="Textplatzhalter 9">
            <a:extLst>
              <a:ext uri="{FF2B5EF4-FFF2-40B4-BE49-F238E27FC236}">
                <a16:creationId xmlns:a16="http://schemas.microsoft.com/office/drawing/2014/main" id="{EBC206A4-147C-644A-961C-DED22C57B1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14" name="Gerader Verbinder 16">
            <a:extLst>
              <a:ext uri="{FF2B5EF4-FFF2-40B4-BE49-F238E27FC236}">
                <a16:creationId xmlns:a16="http://schemas.microsoft.com/office/drawing/2014/main" id="{7433445D-8C43-464B-9EF4-131A98A0A0F3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2">
            <a:extLst>
              <a:ext uri="{FF2B5EF4-FFF2-40B4-BE49-F238E27FC236}">
                <a16:creationId xmlns:a16="http://schemas.microsoft.com/office/drawing/2014/main" id="{0A7D8329-EF18-0B4D-B512-C4B8F562F873}"/>
              </a:ext>
            </a:extLst>
          </p:cNvPr>
          <p:cNvSpPr/>
          <p:nvPr userDrawn="1"/>
        </p:nvSpPr>
        <p:spPr>
          <a:xfrm>
            <a:off x="11838683" y="6577201"/>
            <a:ext cx="21955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0" i="0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 b="0" i="0">
              <a:latin typeface="Sen ExtraBold" pitchFamily="2" charset="0"/>
            </a:endParaRP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59146ACA-5610-51F8-EBB0-3F108374D9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128754139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r Verbinder 16">
            <a:extLst>
              <a:ext uri="{FF2B5EF4-FFF2-40B4-BE49-F238E27FC236}">
                <a16:creationId xmlns:a16="http://schemas.microsoft.com/office/drawing/2014/main" id="{78B3225C-25C1-9145-8D5B-6386B208F34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463504"/>
            <a:ext cx="121888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2">
            <a:extLst>
              <a:ext uri="{FF2B5EF4-FFF2-40B4-BE49-F238E27FC236}">
                <a16:creationId xmlns:a16="http://schemas.microsoft.com/office/drawing/2014/main" id="{D1BC3677-869E-3448-B1A4-0DC9493B74BC}"/>
              </a:ext>
            </a:extLst>
          </p:cNvPr>
          <p:cNvSpPr/>
          <p:nvPr userDrawn="1"/>
        </p:nvSpPr>
        <p:spPr bwMode="gray">
          <a:xfrm>
            <a:off x="11838683" y="6577201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chemeClr val="bg1"/>
                </a:solidFill>
                <a:latin typeface="Sen ExtraBold" pitchFamily="2" charset="0"/>
              </a:rPr>
              <a:pPr/>
              <a:t>‹Nr.›</a:t>
            </a:fld>
            <a:endParaRPr lang="de-DE" sz="900">
              <a:solidFill>
                <a:schemeClr val="bg1"/>
              </a:solidFill>
            </a:endParaRP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7B764916-8F83-934E-DBB9-922D3B80CA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b="0" i="0" dirty="0">
                <a:solidFill>
                  <a:schemeClr val="bg1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/>
              <a:t>Exxeta x OTTO | trade/off Summit | Heidelberg</a:t>
            </a:r>
          </a:p>
        </p:txBody>
      </p:sp>
      <p:sp>
        <p:nvSpPr>
          <p:cNvPr id="3" name="Grafik 7">
            <a:extLst>
              <a:ext uri="{FF2B5EF4-FFF2-40B4-BE49-F238E27FC236}">
                <a16:creationId xmlns:a16="http://schemas.microsoft.com/office/drawing/2014/main" id="{D295FBBC-F943-F202-3A75-72C710C28E64}"/>
              </a:ext>
            </a:extLst>
          </p:cNvPr>
          <p:cNvSpPr>
            <a:spLocks/>
          </p:cNvSpPr>
          <p:nvPr userDrawn="1"/>
        </p:nvSpPr>
        <p:spPr>
          <a:xfrm>
            <a:off x="485729" y="6580212"/>
            <a:ext cx="703536" cy="142855"/>
          </a:xfrm>
          <a:custGeom>
            <a:avLst/>
            <a:gdLst>
              <a:gd name="connsiteX0" fmla="*/ 7261088 w 9525000"/>
              <a:gd name="connsiteY0" fmla="*/ 1270740 h 1933575"/>
              <a:gd name="connsiteX1" fmla="*/ 7616309 w 9525000"/>
              <a:gd name="connsiteY1" fmla="*/ 1417225 h 1933575"/>
              <a:gd name="connsiteX2" fmla="*/ 6905867 w 9525000"/>
              <a:gd name="connsiteY2" fmla="*/ 1918928 h 1933575"/>
              <a:gd name="connsiteX3" fmla="*/ 6162466 w 9525000"/>
              <a:gd name="connsiteY3" fmla="*/ 1201163 h 1933575"/>
              <a:gd name="connsiteX4" fmla="*/ 6162466 w 9525000"/>
              <a:gd name="connsiteY4" fmla="*/ 695795 h 1933575"/>
              <a:gd name="connsiteX5" fmla="*/ 5979362 w 9525000"/>
              <a:gd name="connsiteY5" fmla="*/ 695795 h 1933575"/>
              <a:gd name="connsiteX6" fmla="*/ 5979362 w 9525000"/>
              <a:gd name="connsiteY6" fmla="*/ 333249 h 1933575"/>
              <a:gd name="connsiteX7" fmla="*/ 6162466 w 9525000"/>
              <a:gd name="connsiteY7" fmla="*/ 333249 h 1933575"/>
              <a:gd name="connsiteX8" fmla="*/ 6162466 w 9525000"/>
              <a:gd name="connsiteY8" fmla="*/ 38100 h 1933575"/>
              <a:gd name="connsiteX9" fmla="*/ 6594591 w 9525000"/>
              <a:gd name="connsiteY9" fmla="*/ 38100 h 1933575"/>
              <a:gd name="connsiteX10" fmla="*/ 6594591 w 9525000"/>
              <a:gd name="connsiteY10" fmla="*/ 333249 h 1933575"/>
              <a:gd name="connsiteX11" fmla="*/ 7403908 w 9525000"/>
              <a:gd name="connsiteY11" fmla="*/ 333249 h 1933575"/>
              <a:gd name="connsiteX12" fmla="*/ 7403908 w 9525000"/>
              <a:gd name="connsiteY12" fmla="*/ 695795 h 1933575"/>
              <a:gd name="connsiteX13" fmla="*/ 6594591 w 9525000"/>
              <a:gd name="connsiteY13" fmla="*/ 695795 h 1933575"/>
              <a:gd name="connsiteX14" fmla="*/ 6594591 w 9525000"/>
              <a:gd name="connsiteY14" fmla="*/ 1190175 h 1933575"/>
              <a:gd name="connsiteX15" fmla="*/ 6916853 w 9525000"/>
              <a:gd name="connsiteY15" fmla="*/ 1523423 h 1933575"/>
              <a:gd name="connsiteX16" fmla="*/ 7261088 w 9525000"/>
              <a:gd name="connsiteY16" fmla="*/ 1270740 h 1933575"/>
              <a:gd name="connsiteX17" fmla="*/ 9525000 w 9525000"/>
              <a:gd name="connsiteY17" fmla="*/ 43945 h 1933575"/>
              <a:gd name="connsiteX18" fmla="*/ 9525000 w 9525000"/>
              <a:gd name="connsiteY18" fmla="*/ 1874981 h 1933575"/>
              <a:gd name="connsiteX19" fmla="*/ 9122172 w 9525000"/>
              <a:gd name="connsiteY19" fmla="*/ 1874981 h 1933575"/>
              <a:gd name="connsiteX20" fmla="*/ 9122172 w 9525000"/>
              <a:gd name="connsiteY20" fmla="*/ 1666244 h 1933575"/>
              <a:gd name="connsiteX21" fmla="*/ 9107524 w 9525000"/>
              <a:gd name="connsiteY21" fmla="*/ 1666244 h 1933575"/>
              <a:gd name="connsiteX22" fmla="*/ 8547227 w 9525000"/>
              <a:gd name="connsiteY22" fmla="*/ 1918927 h 1933575"/>
              <a:gd name="connsiteX23" fmla="*/ 7668329 w 9525000"/>
              <a:gd name="connsiteY23" fmla="*/ 959463 h 1933575"/>
              <a:gd name="connsiteX24" fmla="*/ 8554550 w 9525000"/>
              <a:gd name="connsiteY24" fmla="*/ 0 h 1933575"/>
              <a:gd name="connsiteX25" fmla="*/ 9107524 w 9525000"/>
              <a:gd name="connsiteY25" fmla="*/ 252683 h 1933575"/>
              <a:gd name="connsiteX26" fmla="*/ 9122172 w 9525000"/>
              <a:gd name="connsiteY26" fmla="*/ 252683 h 1933575"/>
              <a:gd name="connsiteX27" fmla="*/ 9122172 w 9525000"/>
              <a:gd name="connsiteY27" fmla="*/ 43945 h 1933575"/>
              <a:gd name="connsiteX28" fmla="*/ 9085551 w 9525000"/>
              <a:gd name="connsiteY28" fmla="*/ 955801 h 1933575"/>
              <a:gd name="connsiteX29" fmla="*/ 8609482 w 9525000"/>
              <a:gd name="connsiteY29" fmla="*/ 388180 h 1933575"/>
              <a:gd name="connsiteX30" fmla="*/ 8137075 w 9525000"/>
              <a:gd name="connsiteY30" fmla="*/ 955801 h 1933575"/>
              <a:gd name="connsiteX31" fmla="*/ 8609482 w 9525000"/>
              <a:gd name="connsiteY31" fmla="*/ 1523423 h 1933575"/>
              <a:gd name="connsiteX32" fmla="*/ 9085551 w 9525000"/>
              <a:gd name="connsiteY32" fmla="*/ 955801 h 1933575"/>
              <a:gd name="connsiteX33" fmla="*/ 1787092 w 9525000"/>
              <a:gd name="connsiteY33" fmla="*/ 944815 h 1933575"/>
              <a:gd name="connsiteX34" fmla="*/ 1787092 w 9525000"/>
              <a:gd name="connsiteY34" fmla="*/ 1083976 h 1933575"/>
              <a:gd name="connsiteX35" fmla="*/ 457759 w 9525000"/>
              <a:gd name="connsiteY35" fmla="*/ 1083976 h 1933575"/>
              <a:gd name="connsiteX36" fmla="*/ 897208 w 9525000"/>
              <a:gd name="connsiteY36" fmla="*/ 1523425 h 1933575"/>
              <a:gd name="connsiteX37" fmla="*/ 1351305 w 9525000"/>
              <a:gd name="connsiteY37" fmla="*/ 1245104 h 1933575"/>
              <a:gd name="connsiteX38" fmla="*/ 1732161 w 9525000"/>
              <a:gd name="connsiteY38" fmla="*/ 1369614 h 1933575"/>
              <a:gd name="connsiteX39" fmla="*/ 897208 w 9525000"/>
              <a:gd name="connsiteY39" fmla="*/ 1918926 h 1933575"/>
              <a:gd name="connsiteX40" fmla="*/ 0 w 9525000"/>
              <a:gd name="connsiteY40" fmla="*/ 948477 h 1933575"/>
              <a:gd name="connsiteX41" fmla="*/ 897208 w 9525000"/>
              <a:gd name="connsiteY41" fmla="*/ 0 h 1933575"/>
              <a:gd name="connsiteX42" fmla="*/ 1787092 w 9525000"/>
              <a:gd name="connsiteY42" fmla="*/ 944815 h 1933575"/>
              <a:gd name="connsiteX43" fmla="*/ 1336655 w 9525000"/>
              <a:gd name="connsiteY43" fmla="*/ 765373 h 1933575"/>
              <a:gd name="connsiteX44" fmla="*/ 897206 w 9525000"/>
              <a:gd name="connsiteY44" fmla="*/ 380856 h 1933575"/>
              <a:gd name="connsiteX45" fmla="*/ 468745 w 9525000"/>
              <a:gd name="connsiteY45" fmla="*/ 765373 h 1933575"/>
              <a:gd name="connsiteX46" fmla="*/ 5857561 w 9525000"/>
              <a:gd name="connsiteY46" fmla="*/ 944815 h 1933575"/>
              <a:gd name="connsiteX47" fmla="*/ 5857561 w 9525000"/>
              <a:gd name="connsiteY47" fmla="*/ 1083976 h 1933575"/>
              <a:gd name="connsiteX48" fmla="*/ 4528228 w 9525000"/>
              <a:gd name="connsiteY48" fmla="*/ 1083976 h 1933575"/>
              <a:gd name="connsiteX49" fmla="*/ 4967677 w 9525000"/>
              <a:gd name="connsiteY49" fmla="*/ 1523425 h 1933575"/>
              <a:gd name="connsiteX50" fmla="*/ 5421774 w 9525000"/>
              <a:gd name="connsiteY50" fmla="*/ 1245104 h 1933575"/>
              <a:gd name="connsiteX51" fmla="*/ 5802630 w 9525000"/>
              <a:gd name="connsiteY51" fmla="*/ 1369615 h 1933575"/>
              <a:gd name="connsiteX52" fmla="*/ 4967677 w 9525000"/>
              <a:gd name="connsiteY52" fmla="*/ 1918927 h 1933575"/>
              <a:gd name="connsiteX53" fmla="*/ 4070469 w 9525000"/>
              <a:gd name="connsiteY53" fmla="*/ 948477 h 1933575"/>
              <a:gd name="connsiteX54" fmla="*/ 4967677 w 9525000"/>
              <a:gd name="connsiteY54" fmla="*/ 0 h 1933575"/>
              <a:gd name="connsiteX55" fmla="*/ 5857561 w 9525000"/>
              <a:gd name="connsiteY55" fmla="*/ 944815 h 1933575"/>
              <a:gd name="connsiteX56" fmla="*/ 5407124 w 9525000"/>
              <a:gd name="connsiteY56" fmla="*/ 765373 h 1933575"/>
              <a:gd name="connsiteX57" fmla="*/ 4967674 w 9525000"/>
              <a:gd name="connsiteY57" fmla="*/ 380856 h 1933575"/>
              <a:gd name="connsiteX58" fmla="*/ 4539215 w 9525000"/>
              <a:gd name="connsiteY58" fmla="*/ 765373 h 1933575"/>
              <a:gd name="connsiteX59" fmla="*/ 3437930 w 9525000"/>
              <a:gd name="connsiteY59" fmla="*/ 1234670 h 1933575"/>
              <a:gd name="connsiteX60" fmla="*/ 3434272 w 9525000"/>
              <a:gd name="connsiteY60" fmla="*/ 1231164 h 1933575"/>
              <a:gd name="connsiteX61" fmla="*/ 3434272 w 9525000"/>
              <a:gd name="connsiteY61" fmla="*/ 1231010 h 1933575"/>
              <a:gd name="connsiteX62" fmla="*/ 3851271 w 9525000"/>
              <a:gd name="connsiteY62" fmla="*/ 923638 h 1933575"/>
              <a:gd name="connsiteX63" fmla="*/ 3851271 w 9525000"/>
              <a:gd name="connsiteY63" fmla="*/ 532095 h 1933575"/>
              <a:gd name="connsiteX64" fmla="*/ 3152612 w 9525000"/>
              <a:gd name="connsiteY64" fmla="*/ 949245 h 1933575"/>
              <a:gd name="connsiteX65" fmla="*/ 2936798 w 9525000"/>
              <a:gd name="connsiteY65" fmla="*/ 733352 h 1933575"/>
              <a:gd name="connsiteX66" fmla="*/ 3350144 w 9525000"/>
              <a:gd name="connsiteY66" fmla="*/ 38100 h 1933575"/>
              <a:gd name="connsiteX67" fmla="*/ 2955091 w 9525000"/>
              <a:gd name="connsiteY67" fmla="*/ 38100 h 1933575"/>
              <a:gd name="connsiteX68" fmla="*/ 2669776 w 9525000"/>
              <a:gd name="connsiteY68" fmla="*/ 473547 h 1933575"/>
              <a:gd name="connsiteX69" fmla="*/ 2486882 w 9525000"/>
              <a:gd name="connsiteY69" fmla="*/ 290587 h 1933575"/>
              <a:gd name="connsiteX70" fmla="*/ 2384461 w 9525000"/>
              <a:gd name="connsiteY70" fmla="*/ 38100 h 1933575"/>
              <a:gd name="connsiteX71" fmla="*/ 1985750 w 9525000"/>
              <a:gd name="connsiteY71" fmla="*/ 38100 h 1933575"/>
              <a:gd name="connsiteX72" fmla="*/ 2208882 w 9525000"/>
              <a:gd name="connsiteY72" fmla="*/ 568686 h 1933575"/>
              <a:gd name="connsiteX73" fmla="*/ 2336908 w 9525000"/>
              <a:gd name="connsiteY73" fmla="*/ 696759 h 1933575"/>
              <a:gd name="connsiteX74" fmla="*/ 1945514 w 9525000"/>
              <a:gd name="connsiteY74" fmla="*/ 1373715 h 1933575"/>
              <a:gd name="connsiteX75" fmla="*/ 2336908 w 9525000"/>
              <a:gd name="connsiteY75" fmla="*/ 1373715 h 1933575"/>
              <a:gd name="connsiteX76" fmla="*/ 2611249 w 9525000"/>
              <a:gd name="connsiteY76" fmla="*/ 963882 h 1933575"/>
              <a:gd name="connsiteX77" fmla="*/ 2925828 w 9525000"/>
              <a:gd name="connsiteY77" fmla="*/ 1274916 h 1933575"/>
              <a:gd name="connsiteX78" fmla="*/ 2519803 w 9525000"/>
              <a:gd name="connsiteY78" fmla="*/ 1542038 h 1933575"/>
              <a:gd name="connsiteX79" fmla="*/ 2519803 w 9525000"/>
              <a:gd name="connsiteY79" fmla="*/ 1933575 h 1933575"/>
              <a:gd name="connsiteX80" fmla="*/ 3203828 w 9525000"/>
              <a:gd name="connsiteY80" fmla="*/ 1556671 h 1933575"/>
              <a:gd name="connsiteX81" fmla="*/ 3869564 w 9525000"/>
              <a:gd name="connsiteY81" fmla="*/ 1933575 h 1933575"/>
              <a:gd name="connsiteX82" fmla="*/ 3869564 w 9525000"/>
              <a:gd name="connsiteY82" fmla="*/ 1542038 h 1933575"/>
              <a:gd name="connsiteX83" fmla="*/ 3437933 w 9525000"/>
              <a:gd name="connsiteY83" fmla="*/ 1234665 h 1933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9525000" h="1933575">
                <a:moveTo>
                  <a:pt x="7261088" y="1270740"/>
                </a:moveTo>
                <a:lnTo>
                  <a:pt x="7616309" y="1417225"/>
                </a:lnTo>
                <a:cubicBezTo>
                  <a:pt x="7499123" y="1757797"/>
                  <a:pt x="7228129" y="1918928"/>
                  <a:pt x="6905867" y="1918928"/>
                </a:cubicBezTo>
                <a:cubicBezTo>
                  <a:pt x="6393176" y="1918928"/>
                  <a:pt x="6162466" y="1611315"/>
                  <a:pt x="6162466" y="1201163"/>
                </a:cubicBezTo>
                <a:lnTo>
                  <a:pt x="6162466" y="695795"/>
                </a:lnTo>
                <a:lnTo>
                  <a:pt x="5979362" y="695795"/>
                </a:lnTo>
                <a:lnTo>
                  <a:pt x="5979362" y="333249"/>
                </a:lnTo>
                <a:lnTo>
                  <a:pt x="6162466" y="333249"/>
                </a:lnTo>
                <a:lnTo>
                  <a:pt x="6162466" y="38100"/>
                </a:lnTo>
                <a:lnTo>
                  <a:pt x="6594591" y="38100"/>
                </a:lnTo>
                <a:lnTo>
                  <a:pt x="6594591" y="333249"/>
                </a:lnTo>
                <a:lnTo>
                  <a:pt x="7403908" y="333249"/>
                </a:lnTo>
                <a:lnTo>
                  <a:pt x="7403908" y="695795"/>
                </a:lnTo>
                <a:lnTo>
                  <a:pt x="6594591" y="695795"/>
                </a:lnTo>
                <a:lnTo>
                  <a:pt x="6594591" y="1190175"/>
                </a:lnTo>
                <a:cubicBezTo>
                  <a:pt x="6594591" y="1418584"/>
                  <a:pt x="6737412" y="1523423"/>
                  <a:pt x="6916853" y="1523423"/>
                </a:cubicBezTo>
                <a:cubicBezTo>
                  <a:pt x="7059674" y="1523423"/>
                  <a:pt x="7185928" y="1469910"/>
                  <a:pt x="7261088" y="1270740"/>
                </a:cubicBezTo>
                <a:close/>
                <a:moveTo>
                  <a:pt x="9525000" y="43945"/>
                </a:moveTo>
                <a:lnTo>
                  <a:pt x="9525000" y="1874981"/>
                </a:lnTo>
                <a:lnTo>
                  <a:pt x="9122172" y="1874981"/>
                </a:lnTo>
                <a:lnTo>
                  <a:pt x="9122172" y="1666244"/>
                </a:lnTo>
                <a:lnTo>
                  <a:pt x="9107524" y="1666244"/>
                </a:lnTo>
                <a:cubicBezTo>
                  <a:pt x="9019634" y="1820050"/>
                  <a:pt x="8785261" y="1918927"/>
                  <a:pt x="8547227" y="1918927"/>
                </a:cubicBezTo>
                <a:cubicBezTo>
                  <a:pt x="8001578" y="1918927"/>
                  <a:pt x="7668329" y="1508774"/>
                  <a:pt x="7668329" y="959463"/>
                </a:cubicBezTo>
                <a:cubicBezTo>
                  <a:pt x="7668329" y="417481"/>
                  <a:pt x="8041862" y="0"/>
                  <a:pt x="8554550" y="0"/>
                </a:cubicBezTo>
                <a:cubicBezTo>
                  <a:pt x="8843854" y="0"/>
                  <a:pt x="9015972" y="117186"/>
                  <a:pt x="9107524" y="252683"/>
                </a:cubicBezTo>
                <a:lnTo>
                  <a:pt x="9122172" y="252683"/>
                </a:lnTo>
                <a:lnTo>
                  <a:pt x="9122172" y="43945"/>
                </a:lnTo>
                <a:close/>
                <a:moveTo>
                  <a:pt x="9085551" y="955801"/>
                </a:moveTo>
                <a:cubicBezTo>
                  <a:pt x="9085551" y="632472"/>
                  <a:pt x="8887799" y="388180"/>
                  <a:pt x="8609482" y="388180"/>
                </a:cubicBezTo>
                <a:cubicBezTo>
                  <a:pt x="8331164" y="388180"/>
                  <a:pt x="8137075" y="636065"/>
                  <a:pt x="8137075" y="955801"/>
                </a:cubicBezTo>
                <a:cubicBezTo>
                  <a:pt x="8137075" y="1297141"/>
                  <a:pt x="8331985" y="1523423"/>
                  <a:pt x="8609482" y="1523423"/>
                </a:cubicBezTo>
                <a:cubicBezTo>
                  <a:pt x="8889524" y="1523423"/>
                  <a:pt x="9085551" y="1300976"/>
                  <a:pt x="9085551" y="955801"/>
                </a:cubicBezTo>
                <a:close/>
                <a:moveTo>
                  <a:pt x="1787092" y="944815"/>
                </a:moveTo>
                <a:lnTo>
                  <a:pt x="1787092" y="1083976"/>
                </a:lnTo>
                <a:lnTo>
                  <a:pt x="457759" y="1083976"/>
                </a:lnTo>
                <a:cubicBezTo>
                  <a:pt x="468838" y="1353549"/>
                  <a:pt x="662832" y="1523425"/>
                  <a:pt x="897208" y="1523425"/>
                </a:cubicBezTo>
                <a:cubicBezTo>
                  <a:pt x="1120594" y="1523425"/>
                  <a:pt x="1268936" y="1424821"/>
                  <a:pt x="1351305" y="1245104"/>
                </a:cubicBezTo>
                <a:lnTo>
                  <a:pt x="1732161" y="1369614"/>
                </a:lnTo>
                <a:cubicBezTo>
                  <a:pt x="1596664" y="1717512"/>
                  <a:pt x="1274402" y="1918926"/>
                  <a:pt x="897208" y="1918926"/>
                </a:cubicBezTo>
                <a:cubicBezTo>
                  <a:pt x="380856" y="1918927"/>
                  <a:pt x="0" y="1530747"/>
                  <a:pt x="0" y="948477"/>
                </a:cubicBezTo>
                <a:cubicBezTo>
                  <a:pt x="0" y="410152"/>
                  <a:pt x="380856" y="0"/>
                  <a:pt x="897208" y="0"/>
                </a:cubicBezTo>
                <a:cubicBezTo>
                  <a:pt x="1413561" y="0"/>
                  <a:pt x="1787092" y="402827"/>
                  <a:pt x="1787092" y="944815"/>
                </a:cubicBezTo>
                <a:close/>
                <a:moveTo>
                  <a:pt x="1336655" y="765373"/>
                </a:moveTo>
                <a:cubicBezTo>
                  <a:pt x="1295221" y="531847"/>
                  <a:pt x="1127917" y="380856"/>
                  <a:pt x="897206" y="380856"/>
                </a:cubicBezTo>
                <a:cubicBezTo>
                  <a:pt x="666496" y="380856"/>
                  <a:pt x="498890" y="531755"/>
                  <a:pt x="468745" y="765373"/>
                </a:cubicBezTo>
                <a:close/>
                <a:moveTo>
                  <a:pt x="5857561" y="944815"/>
                </a:moveTo>
                <a:lnTo>
                  <a:pt x="5857561" y="1083976"/>
                </a:lnTo>
                <a:lnTo>
                  <a:pt x="4528228" y="1083976"/>
                </a:lnTo>
                <a:cubicBezTo>
                  <a:pt x="4539307" y="1353549"/>
                  <a:pt x="4733301" y="1523425"/>
                  <a:pt x="4967677" y="1523425"/>
                </a:cubicBezTo>
                <a:cubicBezTo>
                  <a:pt x="5191064" y="1523425"/>
                  <a:pt x="5339407" y="1424821"/>
                  <a:pt x="5421774" y="1245104"/>
                </a:cubicBezTo>
                <a:lnTo>
                  <a:pt x="5802630" y="1369615"/>
                </a:lnTo>
                <a:cubicBezTo>
                  <a:pt x="5667133" y="1717513"/>
                  <a:pt x="5344871" y="1918927"/>
                  <a:pt x="4967677" y="1918927"/>
                </a:cubicBezTo>
                <a:cubicBezTo>
                  <a:pt x="4451875" y="1918927"/>
                  <a:pt x="4070469" y="1530747"/>
                  <a:pt x="4070469" y="948477"/>
                </a:cubicBezTo>
                <a:cubicBezTo>
                  <a:pt x="4070469" y="406490"/>
                  <a:pt x="4451325" y="0"/>
                  <a:pt x="4967677" y="0"/>
                </a:cubicBezTo>
                <a:cubicBezTo>
                  <a:pt x="5484029" y="0"/>
                  <a:pt x="5857561" y="399166"/>
                  <a:pt x="5857561" y="944815"/>
                </a:cubicBezTo>
                <a:close/>
                <a:moveTo>
                  <a:pt x="5407124" y="765373"/>
                </a:moveTo>
                <a:cubicBezTo>
                  <a:pt x="5365690" y="531847"/>
                  <a:pt x="5198385" y="380856"/>
                  <a:pt x="4967674" y="380856"/>
                </a:cubicBezTo>
                <a:cubicBezTo>
                  <a:pt x="4736964" y="380856"/>
                  <a:pt x="4569357" y="531755"/>
                  <a:pt x="4539215" y="765373"/>
                </a:cubicBezTo>
                <a:close/>
                <a:moveTo>
                  <a:pt x="3437930" y="1234670"/>
                </a:moveTo>
                <a:cubicBezTo>
                  <a:pt x="3435952" y="1234712"/>
                  <a:pt x="3434314" y="1233142"/>
                  <a:pt x="3434272" y="1231164"/>
                </a:cubicBezTo>
                <a:cubicBezTo>
                  <a:pt x="3434271" y="1231113"/>
                  <a:pt x="3434271" y="1231061"/>
                  <a:pt x="3434272" y="1231010"/>
                </a:cubicBezTo>
                <a:cubicBezTo>
                  <a:pt x="3573272" y="1037072"/>
                  <a:pt x="3683008" y="923638"/>
                  <a:pt x="3851271" y="923638"/>
                </a:cubicBezTo>
                <a:lnTo>
                  <a:pt x="3851271" y="532095"/>
                </a:lnTo>
                <a:cubicBezTo>
                  <a:pt x="3522061" y="532095"/>
                  <a:pt x="3313562" y="737010"/>
                  <a:pt x="3152612" y="949245"/>
                </a:cubicBezTo>
                <a:lnTo>
                  <a:pt x="2936798" y="733352"/>
                </a:lnTo>
                <a:cubicBezTo>
                  <a:pt x="3150208" y="571398"/>
                  <a:pt x="3350144" y="369516"/>
                  <a:pt x="3350144" y="38100"/>
                </a:cubicBezTo>
                <a:lnTo>
                  <a:pt x="2955091" y="38100"/>
                </a:lnTo>
                <a:cubicBezTo>
                  <a:pt x="2955091" y="220467"/>
                  <a:pt x="2845355" y="334497"/>
                  <a:pt x="2669776" y="473547"/>
                </a:cubicBezTo>
                <a:lnTo>
                  <a:pt x="2486882" y="290587"/>
                </a:lnTo>
                <a:cubicBezTo>
                  <a:pt x="2447963" y="251651"/>
                  <a:pt x="2384461" y="144218"/>
                  <a:pt x="2384461" y="38100"/>
                </a:cubicBezTo>
                <a:lnTo>
                  <a:pt x="1985750" y="38100"/>
                </a:lnTo>
                <a:cubicBezTo>
                  <a:pt x="1985750" y="264972"/>
                  <a:pt x="2106461" y="466229"/>
                  <a:pt x="2208882" y="568686"/>
                </a:cubicBezTo>
                <a:lnTo>
                  <a:pt x="2336908" y="696759"/>
                </a:lnTo>
                <a:cubicBezTo>
                  <a:pt x="2132066" y="854106"/>
                  <a:pt x="1945514" y="1055362"/>
                  <a:pt x="1945514" y="1373715"/>
                </a:cubicBezTo>
                <a:lnTo>
                  <a:pt x="2336908" y="1373715"/>
                </a:lnTo>
                <a:cubicBezTo>
                  <a:pt x="2336908" y="1204518"/>
                  <a:pt x="2436914" y="1091049"/>
                  <a:pt x="2611249" y="963882"/>
                </a:cubicBezTo>
                <a:lnTo>
                  <a:pt x="2925828" y="1274916"/>
                </a:lnTo>
                <a:cubicBezTo>
                  <a:pt x="2801460" y="1443239"/>
                  <a:pt x="2688066" y="1542038"/>
                  <a:pt x="2519803" y="1542038"/>
                </a:cubicBezTo>
                <a:lnTo>
                  <a:pt x="2519803" y="1933575"/>
                </a:lnTo>
                <a:cubicBezTo>
                  <a:pt x="2838039" y="1933575"/>
                  <a:pt x="3042880" y="1757934"/>
                  <a:pt x="3203828" y="1556671"/>
                </a:cubicBezTo>
                <a:cubicBezTo>
                  <a:pt x="3350144" y="1714024"/>
                  <a:pt x="3587906" y="1933575"/>
                  <a:pt x="3869564" y="1933575"/>
                </a:cubicBezTo>
                <a:lnTo>
                  <a:pt x="3869564" y="1542038"/>
                </a:lnTo>
                <a:cubicBezTo>
                  <a:pt x="3723248" y="1542038"/>
                  <a:pt x="3529380" y="1333463"/>
                  <a:pt x="3437933" y="1234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799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617056CD-BD27-06C7-9D24-843006BF3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0888" y="555464"/>
            <a:ext cx="11229075" cy="461665"/>
          </a:xfrm>
        </p:spPr>
        <p:txBody>
          <a:bodyPr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/title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DF418517-1566-52FB-3B2D-39887C82A0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0888" y="1017677"/>
            <a:ext cx="11229075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999">
                <a:solidFill>
                  <a:schemeClr val="bg1"/>
                </a:solidFill>
              </a:defRPr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/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7407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7">
          <p15:clr>
            <a:srgbClr val="F26B43"/>
          </p15:clr>
        </p15:guide>
        <p15:guide id="3" pos="3840">
          <p15:clr>
            <a:srgbClr val="5ACBF0"/>
          </p15:clr>
        </p15:guide>
        <p15:guide id="4" pos="2661">
          <p15:clr>
            <a:srgbClr val="F26B43"/>
          </p15:clr>
        </p15:guide>
        <p15:guide id="5" pos="1481">
          <p15:clr>
            <a:srgbClr val="F26B43"/>
          </p15:clr>
        </p15:guide>
        <p15:guide id="6" pos="5019">
          <p15:clr>
            <a:srgbClr val="F26B43"/>
          </p15:clr>
        </p15:guide>
        <p15:guide id="7" pos="6199">
          <p15:clr>
            <a:srgbClr val="F26B43"/>
          </p15:clr>
        </p15:guide>
        <p15:guide id="8" pos="3953">
          <p15:clr>
            <a:srgbClr val="F26B43"/>
          </p15:clr>
        </p15:guide>
        <p15:guide id="9" pos="3727">
          <p15:clr>
            <a:srgbClr val="F26B43"/>
          </p15:clr>
        </p15:guide>
        <p15:guide id="10" orient="horz" pos="640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AAC3FE32-1606-6B4C-96B3-D99635418F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967886" y="4237874"/>
            <a:ext cx="2734471" cy="1527784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Adress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E19296C-9FC3-4545-A4C9-B3365E5BBA43}"/>
              </a:ext>
            </a:extLst>
          </p:cNvPr>
          <p:cNvSpPr txBox="1"/>
          <p:nvPr userDrawn="1"/>
        </p:nvSpPr>
        <p:spPr bwMode="gray">
          <a:xfrm>
            <a:off x="8973388" y="1216025"/>
            <a:ext cx="2734471" cy="237923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lnSpc>
                <a:spcPts val="4800"/>
              </a:lnSpc>
              <a:spcBef>
                <a:spcPct val="0"/>
              </a:spcBef>
              <a:buNone/>
              <a:defRPr sz="4800" b="1" cap="all" baseline="0">
                <a:latin typeface="Bandeins Strange Bold Extd Half" panose="000005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de-DE" sz="4799" err="1"/>
              <a:t>Let‘s</a:t>
            </a:r>
            <a:r>
              <a:rPr lang="de-DE" sz="4799"/>
              <a:t> </a:t>
            </a:r>
            <a:r>
              <a:rPr lang="de-DE" sz="4799" err="1"/>
              <a:t>stay</a:t>
            </a:r>
            <a:r>
              <a:rPr lang="de-DE" sz="4799"/>
              <a:t> In Touch</a:t>
            </a:r>
          </a:p>
        </p:txBody>
      </p:sp>
      <p:sp>
        <p:nvSpPr>
          <p:cNvPr id="12" name="Textplatzhalter 16">
            <a:extLst>
              <a:ext uri="{FF2B5EF4-FFF2-40B4-BE49-F238E27FC236}">
                <a16:creationId xmlns:a16="http://schemas.microsoft.com/office/drawing/2014/main" id="{1FAE8423-D9BD-0843-A104-D483336E16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0888" y="6198994"/>
            <a:ext cx="1279501" cy="26054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3" name="Inhaltsplatzhalter 13">
            <a:extLst>
              <a:ext uri="{FF2B5EF4-FFF2-40B4-BE49-F238E27FC236}">
                <a16:creationId xmlns:a16="http://schemas.microsoft.com/office/drawing/2014/main" id="{F4D5048B-7C3E-A04D-31D9-F6531CCD8D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-100000"/>
          </a:blip>
          <a:stretch>
            <a:fillRect/>
          </a:stretch>
        </p:blipFill>
        <p:spPr>
          <a:xfrm>
            <a:off x="480888" y="1773238"/>
            <a:ext cx="7126019" cy="2797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327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54">
          <p15:clr>
            <a:srgbClr val="5ACBF0"/>
          </p15:clr>
        </p15:guide>
        <p15:guide id="2" orient="horz" pos="3634">
          <p15:clr>
            <a:srgbClr val="5ACBF0"/>
          </p15:clr>
        </p15:guide>
        <p15:guide id="3" orient="horz" pos="1117">
          <p15:clr>
            <a:srgbClr val="5ACBF0"/>
          </p15:clr>
        </p15:guide>
        <p15:guide id="4" pos="4793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AAC3FE32-1606-6B4C-96B3-D99635418F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68849" y="4223585"/>
            <a:ext cx="2233508" cy="152778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Adresse</a:t>
            </a:r>
          </a:p>
        </p:txBody>
      </p:sp>
      <p:sp>
        <p:nvSpPr>
          <p:cNvPr id="7" name="Inhaltsplatzhalter 17">
            <a:extLst>
              <a:ext uri="{FF2B5EF4-FFF2-40B4-BE49-F238E27FC236}">
                <a16:creationId xmlns:a16="http://schemas.microsoft.com/office/drawing/2014/main" id="{5EB591D2-557C-C446-A071-C2ED06DD283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80887" y="1763714"/>
            <a:ext cx="7299874" cy="31273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16">
            <a:extLst>
              <a:ext uri="{FF2B5EF4-FFF2-40B4-BE49-F238E27FC236}">
                <a16:creationId xmlns:a16="http://schemas.microsoft.com/office/drawing/2014/main" id="{1FAE8423-D9BD-0843-A104-D483336E16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888" y="6198994"/>
            <a:ext cx="1279501" cy="260544"/>
          </a:xfrm>
          <a:prstGeom prst="rect">
            <a:avLst/>
          </a:prstGeom>
          <a:blipFill>
            <a:blip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0439362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Page inverted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6">
            <a:extLst>
              <a:ext uri="{FF2B5EF4-FFF2-40B4-BE49-F238E27FC236}">
                <a16:creationId xmlns:a16="http://schemas.microsoft.com/office/drawing/2014/main" id="{2A01A151-4226-4D04-9454-D9F1480A36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888" y="6198995"/>
            <a:ext cx="1281266" cy="26054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FF29BDC9-3AE5-47C6-ACBF-B100B19CD1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6084" y="594381"/>
            <a:ext cx="7479507" cy="2995987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8797">
                <a:solidFill>
                  <a:schemeClr val="bg1"/>
                </a:solidFill>
                <a:latin typeface="Bandeins Strange Bold Extd Half" panose="00000500000000000000" pitchFamily="50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AB69104A-3EBD-4426-A3A1-4336434F6D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02" y="4982440"/>
            <a:ext cx="3742350" cy="58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052" indent="0">
              <a:buNone/>
              <a:defRPr/>
            </a:lvl2pPr>
          </a:lstStyle>
          <a:p>
            <a:pPr lvl="0"/>
            <a:r>
              <a:rPr lang="de-DE"/>
              <a:t>Name Nachname</a:t>
            </a:r>
          </a:p>
        </p:txBody>
      </p:sp>
      <p:sp>
        <p:nvSpPr>
          <p:cNvPr id="7" name="Textplatzhalter 18">
            <a:extLst>
              <a:ext uri="{FF2B5EF4-FFF2-40B4-BE49-F238E27FC236}">
                <a16:creationId xmlns:a16="http://schemas.microsoft.com/office/drawing/2014/main" id="{ADB0EEB4-DB0B-7649-BA0F-1FC49DD1A2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3764" y="3765887"/>
            <a:ext cx="3742350" cy="5832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200"/>
              </a:lnSpc>
              <a:buNone/>
              <a:defRPr>
                <a:solidFill>
                  <a:schemeClr val="bg1"/>
                </a:solidFill>
              </a:defRPr>
            </a:lvl1pPr>
            <a:lvl2pPr marL="457052" indent="0">
              <a:buNone/>
              <a:defRPr/>
            </a:lvl2pPr>
          </a:lstStyle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Hier könnte das Logo </a:t>
            </a:r>
          </a:p>
          <a:p>
            <a:pPr algn="l">
              <a:lnSpc>
                <a:spcPts val="1200"/>
              </a:lnSpc>
            </a:pPr>
            <a:r>
              <a:rPr lang="de-DE" sz="1600">
                <a:solidFill>
                  <a:srgbClr val="000000"/>
                </a:solidFill>
              </a:rPr>
              <a:t>platziert werd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EC393DE-98F0-6347-90F9-E71D87D19AE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" y="0"/>
            <a:ext cx="12188824" cy="6858000"/>
          </a:xfrm>
        </p:spPr>
        <p:txBody>
          <a:bodyPr anchor="ctr"/>
          <a:lstStyle/>
          <a:p>
            <a:r>
              <a:rPr lang="de-DE"/>
              <a:t>Bild über Klick auf Icon hinzufügen und anschließend über Rechtsklick in den Hintergrund setzen  </a:t>
            </a:r>
          </a:p>
        </p:txBody>
      </p:sp>
    </p:spTree>
    <p:extLst>
      <p:ext uri="{BB962C8B-B14F-4D97-AF65-F5344CB8AC3E}">
        <p14:creationId xmlns:p14="http://schemas.microsoft.com/office/powerpoint/2010/main" val="116193021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pter Divider_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9BDC94DA-96EF-4879-9E97-34327D1E7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120" y="694945"/>
            <a:ext cx="5274177" cy="5424867"/>
          </a:xfrm>
          <a:prstGeom prst="rect">
            <a:avLst/>
          </a:prstGeom>
        </p:spPr>
        <p:txBody>
          <a:bodyPr anchor="ctr" anchorCtr="0"/>
          <a:lstStyle>
            <a:lvl1pPr algn="ctr">
              <a:defRPr sz="5998"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Chapter</a:t>
            </a:r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2F9BF9EC-6DAE-4305-9906-13DFBE688E2A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"/>
            <a:ext cx="0" cy="685799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76D434A-C59D-495D-B6ED-EECFE6DD14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1481" y="202359"/>
            <a:ext cx="5291453" cy="345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999"/>
            </a:lvl1pPr>
            <a:lvl2pPr marL="457052" indent="0">
              <a:buNone/>
              <a:defRPr/>
            </a:lvl2pPr>
            <a:lvl3pPr marL="914103" indent="0">
              <a:buNone/>
              <a:defRPr/>
            </a:lvl3pPr>
            <a:lvl4pPr marL="1371155" indent="0">
              <a:buNone/>
              <a:defRPr/>
            </a:lvl4pPr>
            <a:lvl5pPr marL="1828205" indent="0">
              <a:buNone/>
              <a:defRPr/>
            </a:lvl5pPr>
          </a:lstStyle>
          <a:p>
            <a:pPr lvl="0"/>
            <a:r>
              <a:rPr lang="de-DE"/>
              <a:t>Kapitelnummer xx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7CF3C29-58E0-7B49-A0D1-1AB057787EE2}"/>
              </a:ext>
            </a:extLst>
          </p:cNvPr>
          <p:cNvSpPr txBox="1"/>
          <p:nvPr userDrawn="1"/>
        </p:nvSpPr>
        <p:spPr>
          <a:xfrm>
            <a:off x="11115078" y="5536209"/>
            <a:ext cx="766563" cy="923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5998" b="1" i="0">
                <a:latin typeface="Bandeins Strange" pitchFamily="2" charset="0"/>
              </a:rPr>
              <a:t>→</a:t>
            </a:r>
            <a:endParaRPr lang="de-DE" sz="5998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E05A50E5-BDA9-2D40-9066-1BA8F86EBE9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07609" y="7567"/>
            <a:ext cx="6081216" cy="68504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60587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apter Divider_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9BDC94DA-96EF-4879-9E97-34327D1E7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120" y="694945"/>
            <a:ext cx="5274177" cy="5424867"/>
          </a:xfrm>
          <a:prstGeom prst="rect">
            <a:avLst/>
          </a:prstGeom>
        </p:spPr>
        <p:txBody>
          <a:bodyPr anchor="ctr" anchorCtr="0"/>
          <a:lstStyle>
            <a:lvl1pPr algn="ctr">
              <a:defRPr sz="5998"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Chapter</a:t>
            </a:r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2F9BF9EC-6DAE-4305-9906-13DFBE688E2A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"/>
            <a:ext cx="0" cy="685799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76D434A-C59D-495D-B6ED-EECFE6DD14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1481" y="202359"/>
            <a:ext cx="5291453" cy="345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999"/>
            </a:lvl1pPr>
            <a:lvl2pPr marL="457052" indent="0">
              <a:buNone/>
              <a:defRPr/>
            </a:lvl2pPr>
            <a:lvl3pPr marL="914103" indent="0">
              <a:buNone/>
              <a:defRPr/>
            </a:lvl3pPr>
            <a:lvl4pPr marL="1371155" indent="0">
              <a:buNone/>
              <a:defRPr/>
            </a:lvl4pPr>
            <a:lvl5pPr marL="1828205" indent="0">
              <a:buNone/>
              <a:defRPr/>
            </a:lvl5pPr>
          </a:lstStyle>
          <a:p>
            <a:pPr lvl="0"/>
            <a:r>
              <a:rPr lang="de-DE"/>
              <a:t>Kapitelnummer xx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7CF3C29-58E0-7B49-A0D1-1AB057787EE2}"/>
              </a:ext>
            </a:extLst>
          </p:cNvPr>
          <p:cNvSpPr txBox="1"/>
          <p:nvPr userDrawn="1"/>
        </p:nvSpPr>
        <p:spPr>
          <a:xfrm>
            <a:off x="11115078" y="5536209"/>
            <a:ext cx="766563" cy="923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5998" b="1" i="0">
                <a:latin typeface="Bandeins Strange" pitchFamily="2" charset="0"/>
              </a:rPr>
              <a:t>→</a:t>
            </a:r>
            <a:endParaRPr lang="de-DE" sz="5998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E05A50E5-BDA9-2D40-9066-1BA8F86EBE9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07609" y="7567"/>
            <a:ext cx="6081216" cy="68504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544439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hapter Divider_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9BDC94DA-96EF-4879-9E97-34327D1E7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120" y="694945"/>
            <a:ext cx="5274177" cy="5424867"/>
          </a:xfrm>
          <a:prstGeom prst="rect">
            <a:avLst/>
          </a:prstGeom>
        </p:spPr>
        <p:txBody>
          <a:bodyPr anchor="ctr" anchorCtr="0"/>
          <a:lstStyle>
            <a:lvl1pPr algn="ctr">
              <a:defRPr sz="5998"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Chapter</a:t>
            </a:r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2F9BF9EC-6DAE-4305-9906-13DFBE688E2A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"/>
            <a:ext cx="0" cy="685799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76D434A-C59D-495D-B6ED-EECFE6DD14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1481" y="202359"/>
            <a:ext cx="5291453" cy="345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999"/>
            </a:lvl1pPr>
            <a:lvl2pPr marL="457052" indent="0">
              <a:buNone/>
              <a:defRPr/>
            </a:lvl2pPr>
            <a:lvl3pPr marL="914103" indent="0">
              <a:buNone/>
              <a:defRPr/>
            </a:lvl3pPr>
            <a:lvl4pPr marL="1371155" indent="0">
              <a:buNone/>
              <a:defRPr/>
            </a:lvl4pPr>
            <a:lvl5pPr marL="1828205" indent="0">
              <a:buNone/>
              <a:defRPr/>
            </a:lvl5pPr>
          </a:lstStyle>
          <a:p>
            <a:pPr lvl="0"/>
            <a:r>
              <a:rPr lang="de-DE"/>
              <a:t>Kapitelnummer xx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7CF3C29-58E0-7B49-A0D1-1AB057787EE2}"/>
              </a:ext>
            </a:extLst>
          </p:cNvPr>
          <p:cNvSpPr txBox="1"/>
          <p:nvPr userDrawn="1"/>
        </p:nvSpPr>
        <p:spPr>
          <a:xfrm>
            <a:off x="11115078" y="5536209"/>
            <a:ext cx="766563" cy="923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5998" b="1" i="0">
                <a:latin typeface="Bandeins Strange" pitchFamily="2" charset="0"/>
              </a:rPr>
              <a:t>→</a:t>
            </a:r>
            <a:endParaRPr lang="de-DE" sz="5998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E05A50E5-BDA9-2D40-9066-1BA8F86EBE9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07609" y="7567"/>
            <a:ext cx="6081216" cy="68504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415792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/3 Text Content 2/3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7">
            <a:extLst>
              <a:ext uri="{FF2B5EF4-FFF2-40B4-BE49-F238E27FC236}">
                <a16:creationId xmlns:a16="http://schemas.microsoft.com/office/drawing/2014/main" id="{C98C121B-5EC2-5441-A9DE-BE7CECE97B2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39698" y="0"/>
            <a:ext cx="7949128" cy="64520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  <p:cxnSp>
        <p:nvCxnSpPr>
          <p:cNvPr id="6" name="Gerade Verbindung 8">
            <a:extLst>
              <a:ext uri="{FF2B5EF4-FFF2-40B4-BE49-F238E27FC236}">
                <a16:creationId xmlns:a16="http://schemas.microsoft.com/office/drawing/2014/main" id="{C9104B42-D448-7A46-B612-1F7F3AF7FEDA}"/>
              </a:ext>
            </a:extLst>
          </p:cNvPr>
          <p:cNvCxnSpPr>
            <a:cxnSpLocks/>
          </p:cNvCxnSpPr>
          <p:nvPr userDrawn="1"/>
        </p:nvCxnSpPr>
        <p:spPr>
          <a:xfrm>
            <a:off x="4223239" y="-1"/>
            <a:ext cx="0" cy="646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0B355FB2-6065-9F49-BEC9-84922FFAB52C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1" y="6580214"/>
            <a:ext cx="714093" cy="142855"/>
          </a:xfrm>
          <a:prstGeom prst="rect">
            <a:avLst/>
          </a:prstGeom>
        </p:spPr>
      </p:pic>
      <p:cxnSp>
        <p:nvCxnSpPr>
          <p:cNvPr id="21" name="Gerader Verbinder 16">
            <a:extLst>
              <a:ext uri="{FF2B5EF4-FFF2-40B4-BE49-F238E27FC236}">
                <a16:creationId xmlns:a16="http://schemas.microsoft.com/office/drawing/2014/main" id="{A78882B6-3455-4341-AD7B-5276BCD3D7AD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2">
            <a:extLst>
              <a:ext uri="{FF2B5EF4-FFF2-40B4-BE49-F238E27FC236}">
                <a16:creationId xmlns:a16="http://schemas.microsoft.com/office/drawing/2014/main" id="{02DA6CDE-7ED0-BC42-A5FA-AFAAAB3E13E6}"/>
              </a:ext>
            </a:extLst>
          </p:cNvPr>
          <p:cNvSpPr/>
          <p:nvPr userDrawn="1"/>
        </p:nvSpPr>
        <p:spPr>
          <a:xfrm>
            <a:off x="11838683" y="6577204"/>
            <a:ext cx="248401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1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510D0A4C-3FBA-804C-9CE8-5E2CFA16A7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3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b="0" i="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161B5E4-606F-CA41-BBEC-F93C49D85F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889" y="1763712"/>
            <a:ext cx="3586785" cy="4437063"/>
          </a:xfrm>
        </p:spPr>
        <p:txBody>
          <a:bodyPr r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BEEE67C0-95B0-4E4B-821F-57755B6580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785" y="365540"/>
            <a:ext cx="3588890" cy="124651"/>
          </a:xfrm>
        </p:spPr>
        <p:txBody>
          <a:bodyPr>
            <a:noAutofit/>
          </a:bodyPr>
          <a:lstStyle>
            <a:lvl1pPr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Please delete if not used]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FB1BA58A-66DF-DE4E-B6D9-935EF8B726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5"/>
            <a:ext cx="3764779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E6FE1C8C-517B-5940-9887-B73D4B94A3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4"/>
            <a:ext cx="3764779" cy="307777"/>
          </a:xfrm>
        </p:spPr>
        <p:txBody>
          <a:bodyPr>
            <a:noAutofit/>
          </a:bodyPr>
          <a:lstStyle>
            <a:lvl1pPr marL="0" indent="0">
              <a:buNone/>
              <a:defRPr sz="1999"/>
            </a:lvl1pPr>
            <a:lvl2pPr marL="457052" indent="0">
              <a:buNone/>
              <a:defRPr/>
            </a:lvl2pPr>
            <a:lvl3pPr marL="914103" indent="0">
              <a:buNone/>
              <a:defRPr/>
            </a:lvl3pPr>
            <a:lvl4pPr marL="1371155" indent="0">
              <a:buNone/>
              <a:defRPr/>
            </a:lvl4pPr>
            <a:lvl5pPr marL="1828205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77115938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hapter Divider_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9BDC94DA-96EF-4879-9E97-34327D1E7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120" y="694945"/>
            <a:ext cx="5274177" cy="5424867"/>
          </a:xfrm>
          <a:prstGeom prst="rect">
            <a:avLst/>
          </a:prstGeom>
        </p:spPr>
        <p:txBody>
          <a:bodyPr anchor="ctr" anchorCtr="0"/>
          <a:lstStyle>
            <a:lvl1pPr algn="ctr">
              <a:defRPr sz="5998"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Chapter</a:t>
            </a:r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2F9BF9EC-6DAE-4305-9906-13DFBE688E2A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"/>
            <a:ext cx="0" cy="685799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76D434A-C59D-495D-B6ED-EECFE6DD14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1481" y="202359"/>
            <a:ext cx="5291453" cy="345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999"/>
            </a:lvl1pPr>
            <a:lvl2pPr marL="457052" indent="0">
              <a:buNone/>
              <a:defRPr/>
            </a:lvl2pPr>
            <a:lvl3pPr marL="914103" indent="0">
              <a:buNone/>
              <a:defRPr/>
            </a:lvl3pPr>
            <a:lvl4pPr marL="1371155" indent="0">
              <a:buNone/>
              <a:defRPr/>
            </a:lvl4pPr>
            <a:lvl5pPr marL="1828205" indent="0">
              <a:buNone/>
              <a:defRPr/>
            </a:lvl5pPr>
          </a:lstStyle>
          <a:p>
            <a:pPr lvl="0"/>
            <a:r>
              <a:rPr lang="de-DE"/>
              <a:t>Kapitelnummer xx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7CF3C29-58E0-7B49-A0D1-1AB057787EE2}"/>
              </a:ext>
            </a:extLst>
          </p:cNvPr>
          <p:cNvSpPr txBox="1"/>
          <p:nvPr userDrawn="1"/>
        </p:nvSpPr>
        <p:spPr>
          <a:xfrm>
            <a:off x="11115078" y="5536209"/>
            <a:ext cx="766563" cy="923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5998" b="1" i="0">
                <a:latin typeface="Bandeins Strange" pitchFamily="2" charset="0"/>
              </a:rPr>
              <a:t>→</a:t>
            </a:r>
            <a:endParaRPr lang="de-DE" sz="5998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E05A50E5-BDA9-2D40-9066-1BA8F86EBE9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07609" y="7567"/>
            <a:ext cx="6081216" cy="68504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857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hapter Divider_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9BDC94DA-96EF-4879-9E97-34327D1E7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120" y="694945"/>
            <a:ext cx="5274177" cy="5424867"/>
          </a:xfrm>
          <a:prstGeom prst="rect">
            <a:avLst/>
          </a:prstGeom>
        </p:spPr>
        <p:txBody>
          <a:bodyPr anchor="ctr" anchorCtr="0"/>
          <a:lstStyle>
            <a:lvl1pPr algn="ctr">
              <a:defRPr sz="5998"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Chapter</a:t>
            </a:r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2F9BF9EC-6DAE-4305-9906-13DFBE688E2A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"/>
            <a:ext cx="0" cy="685799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76D434A-C59D-495D-B6ED-EECFE6DD14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1481" y="202359"/>
            <a:ext cx="5291453" cy="345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999"/>
            </a:lvl1pPr>
            <a:lvl2pPr marL="457052" indent="0">
              <a:buNone/>
              <a:defRPr/>
            </a:lvl2pPr>
            <a:lvl3pPr marL="914103" indent="0">
              <a:buNone/>
              <a:defRPr/>
            </a:lvl3pPr>
            <a:lvl4pPr marL="1371155" indent="0">
              <a:buNone/>
              <a:defRPr/>
            </a:lvl4pPr>
            <a:lvl5pPr marL="1828205" indent="0">
              <a:buNone/>
              <a:defRPr/>
            </a:lvl5pPr>
          </a:lstStyle>
          <a:p>
            <a:pPr lvl="0"/>
            <a:r>
              <a:rPr lang="de-DE"/>
              <a:t>Kapitelnummer xx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7CF3C29-58E0-7B49-A0D1-1AB057787EE2}"/>
              </a:ext>
            </a:extLst>
          </p:cNvPr>
          <p:cNvSpPr txBox="1"/>
          <p:nvPr userDrawn="1"/>
        </p:nvSpPr>
        <p:spPr>
          <a:xfrm>
            <a:off x="11115078" y="5536209"/>
            <a:ext cx="766563" cy="923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5998" b="1" i="0">
                <a:latin typeface="Bandeins Strange" pitchFamily="2" charset="0"/>
              </a:rPr>
              <a:t>→</a:t>
            </a:r>
            <a:endParaRPr lang="de-DE" sz="5998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E05A50E5-BDA9-2D40-9066-1BA8F86EBE9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07609" y="7567"/>
            <a:ext cx="6081216" cy="68504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8900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33BF953-6CE9-4131-8270-0972C3897F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 b="0" i="0">
                <a:latin typeface="Sen ExtraBold" pitchFamily="2" charset="0"/>
              </a:defRPr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F61F2D08-AA21-8C4F-AE92-E9D101CC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888" y="555464"/>
            <a:ext cx="11228637" cy="461665"/>
          </a:xfrm>
        </p:spPr>
        <p:txBody>
          <a:bodyPr/>
          <a:lstStyle>
            <a:lvl1pPr>
              <a:defRPr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3B78292-1B8D-8B42-9382-48A001D8B7C5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AAC2C9-9579-9D40-B202-332F19C68E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888" y="1039043"/>
            <a:ext cx="1122697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99" b="0" i="0">
                <a:latin typeface="Sen ExtraBold" pitchFamily="2" charset="0"/>
              </a:defRPr>
            </a:lvl1pPr>
            <a:lvl2pPr marL="457063" indent="0">
              <a:buNone/>
              <a:defRPr/>
            </a:lvl2pPr>
            <a:lvl3pPr marL="914126" indent="0">
              <a:buNone/>
              <a:defRPr/>
            </a:lvl3pPr>
            <a:lvl4pPr marL="1371189" indent="0">
              <a:buNone/>
              <a:defRPr/>
            </a:lvl4pPr>
            <a:lvl5pPr marL="1828251" indent="0">
              <a:buNone/>
              <a:defRPr/>
            </a:lvl5pPr>
          </a:lstStyle>
          <a:p>
            <a:pPr lvl="0"/>
            <a:r>
              <a:rPr lang="de-DE"/>
              <a:t>Untertitel</a:t>
            </a:r>
          </a:p>
        </p:txBody>
      </p:sp>
      <p:cxnSp>
        <p:nvCxnSpPr>
          <p:cNvPr id="16" name="Gerader Verbinder 16">
            <a:extLst>
              <a:ext uri="{FF2B5EF4-FFF2-40B4-BE49-F238E27FC236}">
                <a16:creationId xmlns:a16="http://schemas.microsoft.com/office/drawing/2014/main" id="{AE1246D5-B647-D742-BF79-9F47994E206A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2">
            <a:extLst>
              <a:ext uri="{FF2B5EF4-FFF2-40B4-BE49-F238E27FC236}">
                <a16:creationId xmlns:a16="http://schemas.microsoft.com/office/drawing/2014/main" id="{76770CE1-DD59-3A44-8D32-595B79F1F326}"/>
              </a:ext>
            </a:extLst>
          </p:cNvPr>
          <p:cNvSpPr/>
          <p:nvPr userDrawn="1"/>
        </p:nvSpPr>
        <p:spPr>
          <a:xfrm>
            <a:off x="11838683" y="6577201"/>
            <a:ext cx="21955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0" i="0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 b="0" i="0">
              <a:latin typeface="Sen ExtraBold" pitchFamily="2" charset="0"/>
            </a:endParaRP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78DA144F-D753-57A9-8B87-B5336751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218031368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Chapter Divider_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9BDC94DA-96EF-4879-9E97-34327D1E7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120" y="694945"/>
            <a:ext cx="5274177" cy="5424867"/>
          </a:xfrm>
          <a:prstGeom prst="rect">
            <a:avLst/>
          </a:prstGeom>
        </p:spPr>
        <p:txBody>
          <a:bodyPr anchor="ctr" anchorCtr="0"/>
          <a:lstStyle>
            <a:lvl1pPr algn="ctr">
              <a:defRPr sz="5998" b="1" i="0" cap="none" baseline="0">
                <a:latin typeface="Bandeins Strange" pitchFamily="2" charset="0"/>
              </a:defRPr>
            </a:lvl1pPr>
          </a:lstStyle>
          <a:p>
            <a:r>
              <a:rPr lang="de-DE"/>
              <a:t>Chapter</a:t>
            </a:r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2F9BF9EC-6DAE-4305-9906-13DFBE688E2A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"/>
            <a:ext cx="0" cy="685799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76D434A-C59D-495D-B6ED-EECFE6DD14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1481" y="202359"/>
            <a:ext cx="5291453" cy="345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999"/>
            </a:lvl1pPr>
            <a:lvl2pPr marL="457052" indent="0">
              <a:buNone/>
              <a:defRPr/>
            </a:lvl2pPr>
            <a:lvl3pPr marL="914103" indent="0">
              <a:buNone/>
              <a:defRPr/>
            </a:lvl3pPr>
            <a:lvl4pPr marL="1371155" indent="0">
              <a:buNone/>
              <a:defRPr/>
            </a:lvl4pPr>
            <a:lvl5pPr marL="1828205" indent="0">
              <a:buNone/>
              <a:defRPr/>
            </a:lvl5pPr>
          </a:lstStyle>
          <a:p>
            <a:pPr lvl="0"/>
            <a:r>
              <a:rPr lang="de-DE"/>
              <a:t>Kapitelnummer xx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7CF3C29-58E0-7B49-A0D1-1AB057787EE2}"/>
              </a:ext>
            </a:extLst>
          </p:cNvPr>
          <p:cNvSpPr txBox="1"/>
          <p:nvPr userDrawn="1"/>
        </p:nvSpPr>
        <p:spPr>
          <a:xfrm>
            <a:off x="11115078" y="5536209"/>
            <a:ext cx="766563" cy="923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5998" b="1" i="0">
                <a:latin typeface="Bandeins Strange" pitchFamily="2" charset="0"/>
              </a:rPr>
              <a:t>→</a:t>
            </a:r>
            <a:endParaRPr lang="de-DE" sz="5998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E05A50E5-BDA9-2D40-9066-1BA8F86EBE9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07609" y="7567"/>
            <a:ext cx="6081216" cy="68504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marR="0" lvl="0" indent="0" algn="l" defTabSz="914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 Hier können Bilder/Diagramme oder Icons platziert werd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55560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CAC9CF-8AA1-AE43-8AE5-5FB48DD876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 b="1" i="0">
                <a:latin typeface="Bandeins Strange" pitchFamily="2" charset="0"/>
              </a:defRPr>
            </a:lvl1pPr>
          </a:lstStyle>
          <a:p>
            <a:r>
              <a:rPr lang="de-DE"/>
              <a:t>Titel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1005835-5E1A-8448-BA86-A336D1A04B9D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/>
        </p:blipFill>
        <p:spPr>
          <a:xfrm>
            <a:off x="480450" y="6580212"/>
            <a:ext cx="714093" cy="142855"/>
          </a:xfrm>
          <a:prstGeom prst="rect">
            <a:avLst/>
          </a:prstGeom>
        </p:spPr>
      </p:pic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76F0FAEB-8483-EC47-9BD6-9A88ADAAAD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783" y="365539"/>
            <a:ext cx="4325760" cy="124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 b="0" i="0">
                <a:latin typeface="Sen ExtraBold" pitchFamily="2" charset="0"/>
              </a:defRPr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Classification [</a:t>
            </a:r>
            <a:r>
              <a:rPr lang="de-DE" err="1"/>
              <a:t>Please</a:t>
            </a:r>
            <a:r>
              <a:rPr lang="de-DE"/>
              <a:t> 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not </a:t>
            </a:r>
            <a:r>
              <a:rPr lang="de-DE" err="1"/>
              <a:t>used</a:t>
            </a:r>
            <a:r>
              <a:rPr lang="de-DE"/>
              <a:t>]</a:t>
            </a:r>
          </a:p>
        </p:txBody>
      </p:sp>
      <p:cxnSp>
        <p:nvCxnSpPr>
          <p:cNvPr id="8" name="Gerader Verbinder 16">
            <a:extLst>
              <a:ext uri="{FF2B5EF4-FFF2-40B4-BE49-F238E27FC236}">
                <a16:creationId xmlns:a16="http://schemas.microsoft.com/office/drawing/2014/main" id="{5ECCC085-5D8C-6440-9F21-6FDB155A51DD}"/>
              </a:ext>
            </a:extLst>
          </p:cNvPr>
          <p:cNvCxnSpPr>
            <a:cxnSpLocks/>
          </p:cNvCxnSpPr>
          <p:nvPr userDrawn="1"/>
        </p:nvCxnSpPr>
        <p:spPr>
          <a:xfrm>
            <a:off x="0" y="6463504"/>
            <a:ext cx="121888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2">
            <a:extLst>
              <a:ext uri="{FF2B5EF4-FFF2-40B4-BE49-F238E27FC236}">
                <a16:creationId xmlns:a16="http://schemas.microsoft.com/office/drawing/2014/main" id="{CADF45C5-430F-2044-B9C6-15D5E737A56D}"/>
              </a:ext>
            </a:extLst>
          </p:cNvPr>
          <p:cNvSpPr/>
          <p:nvPr userDrawn="1"/>
        </p:nvSpPr>
        <p:spPr>
          <a:xfrm>
            <a:off x="11838683" y="6577201"/>
            <a:ext cx="21955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fld id="{A7D6A8ED-F440-44F0-B3AA-3EB55CF0F0CA}" type="slidenum">
              <a:rPr lang="de-DE" sz="900" b="0" i="0" smtClean="0">
                <a:solidFill>
                  <a:srgbClr val="000000"/>
                </a:solidFill>
                <a:latin typeface="Sen ExtraBold" pitchFamily="2" charset="0"/>
              </a:rPr>
              <a:pPr/>
              <a:t>‹Nr.›</a:t>
            </a:fld>
            <a:endParaRPr lang="de-DE" sz="900" b="0" i="0">
              <a:latin typeface="Sen ExtraBold" pitchFamily="2" charset="0"/>
            </a:endParaRP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F46552FA-9738-C078-8A29-3C16F7F7DD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1121562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slideLayout" Target="../slideLayouts/slideLayout77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slideLayout" Target="../slideLayouts/slideLayout76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80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slideLayout" Target="../slideLayouts/slideLayout78.xml"/><Relationship Id="rId30" Type="http://schemas.openxmlformats.org/officeDocument/2006/relationships/theme" Target="../theme/theme4.xml"/><Relationship Id="rId8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1" r:id="rId2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B8B8C66-72A9-40FC-9EB4-7E78981797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888" y="555464"/>
            <a:ext cx="11226971" cy="4616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3B95E51-EB43-46D6-8694-A2AAD44BF6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887" y="1764000"/>
            <a:ext cx="11226971" cy="44367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  <a:p>
            <a:pPr lvl="5"/>
            <a:r>
              <a:rPr lang="de-DE" err="1"/>
              <a:t>Sixth</a:t>
            </a:r>
            <a:r>
              <a:rPr lang="de-DE"/>
              <a:t> Level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6D337114-FE4E-6840-9744-C828276A9D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/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146895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</p:sldLayoutIdLst>
  <p:hf sldNum="0"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2799" b="1" i="0" kern="1200">
          <a:solidFill>
            <a:schemeClr val="tx1"/>
          </a:solidFill>
          <a:latin typeface="Bandeins Strange" pitchFamily="2" charset="0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lnSpc>
          <a:spcPct val="130000"/>
        </a:lnSpc>
        <a:spcBef>
          <a:spcPts val="0"/>
        </a:spcBef>
        <a:buFontTx/>
        <a:buNone/>
        <a:defRPr sz="1400" b="0" i="0" kern="1200">
          <a:solidFill>
            <a:schemeClr val="tx1"/>
          </a:solidFill>
          <a:latin typeface="Sen ExtraBold" pitchFamily="2" charset="0"/>
          <a:ea typeface="+mn-ea"/>
          <a:cs typeface="+mn-cs"/>
        </a:defRPr>
      </a:lvl1pPr>
      <a:lvl2pPr marL="179946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Sen ExtraBold" pitchFamily="2" charset="0"/>
          <a:ea typeface="+mn-ea"/>
          <a:cs typeface="+mn-cs"/>
        </a:defRPr>
      </a:lvl2pPr>
      <a:lvl3pPr marL="359892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Sen ExtraBold" pitchFamily="2" charset="0"/>
          <a:ea typeface="+mn-ea"/>
          <a:cs typeface="+mn-cs"/>
        </a:defRPr>
      </a:lvl3pPr>
      <a:lvl4pPr marL="561432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Sen ExtraBold" pitchFamily="2" charset="0"/>
          <a:ea typeface="+mn-ea"/>
          <a:cs typeface="+mn-cs"/>
        </a:defRPr>
      </a:lvl4pPr>
      <a:lvl5pPr marL="755773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Sen ExtraBold" pitchFamily="2" charset="0"/>
          <a:ea typeface="+mn-ea"/>
          <a:cs typeface="+mn-cs"/>
        </a:defRPr>
      </a:lvl5pPr>
      <a:lvl6pPr marL="932120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Sen ExtraBold" pitchFamily="2" charset="0"/>
          <a:ea typeface="+mn-ea"/>
          <a:cs typeface="+mn-cs"/>
        </a:defRPr>
      </a:lvl6pPr>
      <a:lvl7pPr marL="1090473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81216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3">
          <p15:clr>
            <a:srgbClr val="F26B43"/>
          </p15:clr>
        </p15:guide>
        <p15:guide id="2" pos="7378">
          <p15:clr>
            <a:srgbClr val="F26B43"/>
          </p15:clr>
        </p15:guide>
        <p15:guide id="3" pos="1481">
          <p15:clr>
            <a:srgbClr val="F26B43"/>
          </p15:clr>
        </p15:guide>
        <p15:guide id="4" pos="2661">
          <p15:clr>
            <a:srgbClr val="F26B43"/>
          </p15:clr>
        </p15:guide>
        <p15:guide id="5" pos="3840">
          <p15:clr>
            <a:srgbClr val="F26B43"/>
          </p15:clr>
        </p15:guide>
        <p15:guide id="6" pos="5019">
          <p15:clr>
            <a:srgbClr val="F26B43"/>
          </p15:clr>
        </p15:guide>
        <p15:guide id="7" pos="6199">
          <p15:clr>
            <a:srgbClr val="F26B43"/>
          </p15:clr>
        </p15:guide>
        <p15:guide id="8" orient="horz" pos="1111">
          <p15:clr>
            <a:srgbClr val="F26B43"/>
          </p15:clr>
        </p15:guide>
        <p15:guide id="9" orient="horz" pos="3906">
          <p15:clr>
            <a:srgbClr val="F26B43"/>
          </p15:clr>
        </p15:guide>
        <p15:guide id="10" orient="horz" pos="4069">
          <p15:clr>
            <a:srgbClr val="F26B43"/>
          </p15:clr>
        </p15:guide>
        <p15:guide id="11" orient="horz" pos="346">
          <p15:clr>
            <a:srgbClr val="F26B43"/>
          </p15:clr>
        </p15:guide>
        <p15:guide id="12" orient="horz" pos="6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B8B8C66-72A9-40FC-9EB4-7E78981797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888" y="555464"/>
            <a:ext cx="11226971" cy="4616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3B95E51-EB43-46D6-8694-A2AAD44BF6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887" y="1764000"/>
            <a:ext cx="11226971" cy="44367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  <a:p>
            <a:pPr lvl="5"/>
            <a:r>
              <a:rPr lang="de-DE" err="1"/>
              <a:t>Sixth</a:t>
            </a:r>
            <a:r>
              <a:rPr lang="de-DE"/>
              <a:t> Level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6D337114-FE4E-6840-9744-C828276A9D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1558" y="6577201"/>
            <a:ext cx="9216299" cy="14770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>
              <a:defRPr lang="en-DE" sz="900" dirty="0">
                <a:solidFill>
                  <a:srgbClr val="000000"/>
                </a:solidFill>
                <a:latin typeface="Sen ExtraBold" pitchFamily="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de-DE" sz="900">
                <a:solidFill>
                  <a:srgbClr val="000000"/>
                </a:solidFill>
                <a:latin typeface="Sen ExtraBold" pitchFamily="2" charset="0"/>
              </a:rPr>
              <a:t>Exxeta x OTTO | trade/off Summit | Heidelberg</a:t>
            </a:r>
            <a:endParaRPr lang="de-DE" sz="900" b="1">
              <a:solidFill>
                <a:srgbClr val="000000"/>
              </a:solidFill>
              <a:latin typeface="Sen Extra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387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</p:sldLayoutIdLst>
  <p:hf sldNum="0"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2799" b="1" i="0" kern="1200">
          <a:solidFill>
            <a:schemeClr val="tx1"/>
          </a:solidFill>
          <a:latin typeface="Bandeins Strange" pitchFamily="2" charset="0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lnSpc>
          <a:spcPct val="13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79946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892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61432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55773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32120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473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81216" indent="-179946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3">
          <p15:clr>
            <a:srgbClr val="F26B43"/>
          </p15:clr>
        </p15:guide>
        <p15:guide id="2" pos="7378">
          <p15:clr>
            <a:srgbClr val="F26B43"/>
          </p15:clr>
        </p15:guide>
        <p15:guide id="3" pos="1481">
          <p15:clr>
            <a:srgbClr val="F26B43"/>
          </p15:clr>
        </p15:guide>
        <p15:guide id="4" pos="2661">
          <p15:clr>
            <a:srgbClr val="F26B43"/>
          </p15:clr>
        </p15:guide>
        <p15:guide id="5" pos="3840">
          <p15:clr>
            <a:srgbClr val="F26B43"/>
          </p15:clr>
        </p15:guide>
        <p15:guide id="6" pos="5019">
          <p15:clr>
            <a:srgbClr val="F26B43"/>
          </p15:clr>
        </p15:guide>
        <p15:guide id="7" pos="6199">
          <p15:clr>
            <a:srgbClr val="F26B43"/>
          </p15:clr>
        </p15:guide>
        <p15:guide id="8" orient="horz" pos="1111">
          <p15:clr>
            <a:srgbClr val="F26B43"/>
          </p15:clr>
        </p15:guide>
        <p15:guide id="9" orient="horz" pos="3906">
          <p15:clr>
            <a:srgbClr val="F26B43"/>
          </p15:clr>
        </p15:guide>
        <p15:guide id="10" orient="horz" pos="4069">
          <p15:clr>
            <a:srgbClr val="F26B43"/>
          </p15:clr>
        </p15:guide>
        <p15:guide id="11" orient="horz" pos="346">
          <p15:clr>
            <a:srgbClr val="F26B43"/>
          </p15:clr>
        </p15:guide>
        <p15:guide id="12" orient="horz" pos="6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9B259B-9566-FA08-A202-575700145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02708449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480" imgH="481" progId="TCLayout.ActiveDocument.1">
                  <p:embed/>
                </p:oleObj>
              </mc:Choice>
              <mc:Fallback>
                <p:oleObj name="think-cell Folie" r:id="rId32" imgW="480" imgH="481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9B259B-9566-FA08-A202-575700145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B8B8C66-72A9-40FC-9EB4-7E789817975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0888" y="555464"/>
            <a:ext cx="11226971" cy="4616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/titl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9398BF3-F8D5-4AEA-A4B2-D0893E4DFEF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80888" y="1773243"/>
            <a:ext cx="11228637" cy="44370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</p:txBody>
      </p:sp>
      <p:sp>
        <p:nvSpPr>
          <p:cNvPr id="4" name="Grafik 7">
            <a:extLst>
              <a:ext uri="{FF2B5EF4-FFF2-40B4-BE49-F238E27FC236}">
                <a16:creationId xmlns:a16="http://schemas.microsoft.com/office/drawing/2014/main" id="{37BEA654-A559-77AA-9ABB-D05503DD6FA1}"/>
              </a:ext>
            </a:extLst>
          </p:cNvPr>
          <p:cNvSpPr>
            <a:spLocks/>
          </p:cNvSpPr>
          <p:nvPr userDrawn="1"/>
        </p:nvSpPr>
        <p:spPr>
          <a:xfrm>
            <a:off x="485729" y="6580212"/>
            <a:ext cx="703536" cy="142855"/>
          </a:xfrm>
          <a:custGeom>
            <a:avLst/>
            <a:gdLst>
              <a:gd name="connsiteX0" fmla="*/ 7261088 w 9525000"/>
              <a:gd name="connsiteY0" fmla="*/ 1270740 h 1933575"/>
              <a:gd name="connsiteX1" fmla="*/ 7616309 w 9525000"/>
              <a:gd name="connsiteY1" fmla="*/ 1417225 h 1933575"/>
              <a:gd name="connsiteX2" fmla="*/ 6905867 w 9525000"/>
              <a:gd name="connsiteY2" fmla="*/ 1918928 h 1933575"/>
              <a:gd name="connsiteX3" fmla="*/ 6162466 w 9525000"/>
              <a:gd name="connsiteY3" fmla="*/ 1201163 h 1933575"/>
              <a:gd name="connsiteX4" fmla="*/ 6162466 w 9525000"/>
              <a:gd name="connsiteY4" fmla="*/ 695795 h 1933575"/>
              <a:gd name="connsiteX5" fmla="*/ 5979362 w 9525000"/>
              <a:gd name="connsiteY5" fmla="*/ 695795 h 1933575"/>
              <a:gd name="connsiteX6" fmla="*/ 5979362 w 9525000"/>
              <a:gd name="connsiteY6" fmla="*/ 333249 h 1933575"/>
              <a:gd name="connsiteX7" fmla="*/ 6162466 w 9525000"/>
              <a:gd name="connsiteY7" fmla="*/ 333249 h 1933575"/>
              <a:gd name="connsiteX8" fmla="*/ 6162466 w 9525000"/>
              <a:gd name="connsiteY8" fmla="*/ 38100 h 1933575"/>
              <a:gd name="connsiteX9" fmla="*/ 6594591 w 9525000"/>
              <a:gd name="connsiteY9" fmla="*/ 38100 h 1933575"/>
              <a:gd name="connsiteX10" fmla="*/ 6594591 w 9525000"/>
              <a:gd name="connsiteY10" fmla="*/ 333249 h 1933575"/>
              <a:gd name="connsiteX11" fmla="*/ 7403908 w 9525000"/>
              <a:gd name="connsiteY11" fmla="*/ 333249 h 1933575"/>
              <a:gd name="connsiteX12" fmla="*/ 7403908 w 9525000"/>
              <a:gd name="connsiteY12" fmla="*/ 695795 h 1933575"/>
              <a:gd name="connsiteX13" fmla="*/ 6594591 w 9525000"/>
              <a:gd name="connsiteY13" fmla="*/ 695795 h 1933575"/>
              <a:gd name="connsiteX14" fmla="*/ 6594591 w 9525000"/>
              <a:gd name="connsiteY14" fmla="*/ 1190175 h 1933575"/>
              <a:gd name="connsiteX15" fmla="*/ 6916853 w 9525000"/>
              <a:gd name="connsiteY15" fmla="*/ 1523423 h 1933575"/>
              <a:gd name="connsiteX16" fmla="*/ 7261088 w 9525000"/>
              <a:gd name="connsiteY16" fmla="*/ 1270740 h 1933575"/>
              <a:gd name="connsiteX17" fmla="*/ 9525000 w 9525000"/>
              <a:gd name="connsiteY17" fmla="*/ 43945 h 1933575"/>
              <a:gd name="connsiteX18" fmla="*/ 9525000 w 9525000"/>
              <a:gd name="connsiteY18" fmla="*/ 1874981 h 1933575"/>
              <a:gd name="connsiteX19" fmla="*/ 9122172 w 9525000"/>
              <a:gd name="connsiteY19" fmla="*/ 1874981 h 1933575"/>
              <a:gd name="connsiteX20" fmla="*/ 9122172 w 9525000"/>
              <a:gd name="connsiteY20" fmla="*/ 1666244 h 1933575"/>
              <a:gd name="connsiteX21" fmla="*/ 9107524 w 9525000"/>
              <a:gd name="connsiteY21" fmla="*/ 1666244 h 1933575"/>
              <a:gd name="connsiteX22" fmla="*/ 8547227 w 9525000"/>
              <a:gd name="connsiteY22" fmla="*/ 1918927 h 1933575"/>
              <a:gd name="connsiteX23" fmla="*/ 7668329 w 9525000"/>
              <a:gd name="connsiteY23" fmla="*/ 959463 h 1933575"/>
              <a:gd name="connsiteX24" fmla="*/ 8554550 w 9525000"/>
              <a:gd name="connsiteY24" fmla="*/ 0 h 1933575"/>
              <a:gd name="connsiteX25" fmla="*/ 9107524 w 9525000"/>
              <a:gd name="connsiteY25" fmla="*/ 252683 h 1933575"/>
              <a:gd name="connsiteX26" fmla="*/ 9122172 w 9525000"/>
              <a:gd name="connsiteY26" fmla="*/ 252683 h 1933575"/>
              <a:gd name="connsiteX27" fmla="*/ 9122172 w 9525000"/>
              <a:gd name="connsiteY27" fmla="*/ 43945 h 1933575"/>
              <a:gd name="connsiteX28" fmla="*/ 9085551 w 9525000"/>
              <a:gd name="connsiteY28" fmla="*/ 955801 h 1933575"/>
              <a:gd name="connsiteX29" fmla="*/ 8609482 w 9525000"/>
              <a:gd name="connsiteY29" fmla="*/ 388180 h 1933575"/>
              <a:gd name="connsiteX30" fmla="*/ 8137075 w 9525000"/>
              <a:gd name="connsiteY30" fmla="*/ 955801 h 1933575"/>
              <a:gd name="connsiteX31" fmla="*/ 8609482 w 9525000"/>
              <a:gd name="connsiteY31" fmla="*/ 1523423 h 1933575"/>
              <a:gd name="connsiteX32" fmla="*/ 9085551 w 9525000"/>
              <a:gd name="connsiteY32" fmla="*/ 955801 h 1933575"/>
              <a:gd name="connsiteX33" fmla="*/ 1787092 w 9525000"/>
              <a:gd name="connsiteY33" fmla="*/ 944815 h 1933575"/>
              <a:gd name="connsiteX34" fmla="*/ 1787092 w 9525000"/>
              <a:gd name="connsiteY34" fmla="*/ 1083976 h 1933575"/>
              <a:gd name="connsiteX35" fmla="*/ 457759 w 9525000"/>
              <a:gd name="connsiteY35" fmla="*/ 1083976 h 1933575"/>
              <a:gd name="connsiteX36" fmla="*/ 897208 w 9525000"/>
              <a:gd name="connsiteY36" fmla="*/ 1523425 h 1933575"/>
              <a:gd name="connsiteX37" fmla="*/ 1351305 w 9525000"/>
              <a:gd name="connsiteY37" fmla="*/ 1245104 h 1933575"/>
              <a:gd name="connsiteX38" fmla="*/ 1732161 w 9525000"/>
              <a:gd name="connsiteY38" fmla="*/ 1369614 h 1933575"/>
              <a:gd name="connsiteX39" fmla="*/ 897208 w 9525000"/>
              <a:gd name="connsiteY39" fmla="*/ 1918926 h 1933575"/>
              <a:gd name="connsiteX40" fmla="*/ 0 w 9525000"/>
              <a:gd name="connsiteY40" fmla="*/ 948477 h 1933575"/>
              <a:gd name="connsiteX41" fmla="*/ 897208 w 9525000"/>
              <a:gd name="connsiteY41" fmla="*/ 0 h 1933575"/>
              <a:gd name="connsiteX42" fmla="*/ 1787092 w 9525000"/>
              <a:gd name="connsiteY42" fmla="*/ 944815 h 1933575"/>
              <a:gd name="connsiteX43" fmla="*/ 1336655 w 9525000"/>
              <a:gd name="connsiteY43" fmla="*/ 765373 h 1933575"/>
              <a:gd name="connsiteX44" fmla="*/ 897206 w 9525000"/>
              <a:gd name="connsiteY44" fmla="*/ 380856 h 1933575"/>
              <a:gd name="connsiteX45" fmla="*/ 468745 w 9525000"/>
              <a:gd name="connsiteY45" fmla="*/ 765373 h 1933575"/>
              <a:gd name="connsiteX46" fmla="*/ 5857561 w 9525000"/>
              <a:gd name="connsiteY46" fmla="*/ 944815 h 1933575"/>
              <a:gd name="connsiteX47" fmla="*/ 5857561 w 9525000"/>
              <a:gd name="connsiteY47" fmla="*/ 1083976 h 1933575"/>
              <a:gd name="connsiteX48" fmla="*/ 4528228 w 9525000"/>
              <a:gd name="connsiteY48" fmla="*/ 1083976 h 1933575"/>
              <a:gd name="connsiteX49" fmla="*/ 4967677 w 9525000"/>
              <a:gd name="connsiteY49" fmla="*/ 1523425 h 1933575"/>
              <a:gd name="connsiteX50" fmla="*/ 5421774 w 9525000"/>
              <a:gd name="connsiteY50" fmla="*/ 1245104 h 1933575"/>
              <a:gd name="connsiteX51" fmla="*/ 5802630 w 9525000"/>
              <a:gd name="connsiteY51" fmla="*/ 1369615 h 1933575"/>
              <a:gd name="connsiteX52" fmla="*/ 4967677 w 9525000"/>
              <a:gd name="connsiteY52" fmla="*/ 1918927 h 1933575"/>
              <a:gd name="connsiteX53" fmla="*/ 4070469 w 9525000"/>
              <a:gd name="connsiteY53" fmla="*/ 948477 h 1933575"/>
              <a:gd name="connsiteX54" fmla="*/ 4967677 w 9525000"/>
              <a:gd name="connsiteY54" fmla="*/ 0 h 1933575"/>
              <a:gd name="connsiteX55" fmla="*/ 5857561 w 9525000"/>
              <a:gd name="connsiteY55" fmla="*/ 944815 h 1933575"/>
              <a:gd name="connsiteX56" fmla="*/ 5407124 w 9525000"/>
              <a:gd name="connsiteY56" fmla="*/ 765373 h 1933575"/>
              <a:gd name="connsiteX57" fmla="*/ 4967674 w 9525000"/>
              <a:gd name="connsiteY57" fmla="*/ 380856 h 1933575"/>
              <a:gd name="connsiteX58" fmla="*/ 4539215 w 9525000"/>
              <a:gd name="connsiteY58" fmla="*/ 765373 h 1933575"/>
              <a:gd name="connsiteX59" fmla="*/ 3437930 w 9525000"/>
              <a:gd name="connsiteY59" fmla="*/ 1234670 h 1933575"/>
              <a:gd name="connsiteX60" fmla="*/ 3434272 w 9525000"/>
              <a:gd name="connsiteY60" fmla="*/ 1231164 h 1933575"/>
              <a:gd name="connsiteX61" fmla="*/ 3434272 w 9525000"/>
              <a:gd name="connsiteY61" fmla="*/ 1231010 h 1933575"/>
              <a:gd name="connsiteX62" fmla="*/ 3851271 w 9525000"/>
              <a:gd name="connsiteY62" fmla="*/ 923638 h 1933575"/>
              <a:gd name="connsiteX63" fmla="*/ 3851271 w 9525000"/>
              <a:gd name="connsiteY63" fmla="*/ 532095 h 1933575"/>
              <a:gd name="connsiteX64" fmla="*/ 3152612 w 9525000"/>
              <a:gd name="connsiteY64" fmla="*/ 949245 h 1933575"/>
              <a:gd name="connsiteX65" fmla="*/ 2936798 w 9525000"/>
              <a:gd name="connsiteY65" fmla="*/ 733352 h 1933575"/>
              <a:gd name="connsiteX66" fmla="*/ 3350144 w 9525000"/>
              <a:gd name="connsiteY66" fmla="*/ 38100 h 1933575"/>
              <a:gd name="connsiteX67" fmla="*/ 2955091 w 9525000"/>
              <a:gd name="connsiteY67" fmla="*/ 38100 h 1933575"/>
              <a:gd name="connsiteX68" fmla="*/ 2669776 w 9525000"/>
              <a:gd name="connsiteY68" fmla="*/ 473547 h 1933575"/>
              <a:gd name="connsiteX69" fmla="*/ 2486882 w 9525000"/>
              <a:gd name="connsiteY69" fmla="*/ 290587 h 1933575"/>
              <a:gd name="connsiteX70" fmla="*/ 2384461 w 9525000"/>
              <a:gd name="connsiteY70" fmla="*/ 38100 h 1933575"/>
              <a:gd name="connsiteX71" fmla="*/ 1985750 w 9525000"/>
              <a:gd name="connsiteY71" fmla="*/ 38100 h 1933575"/>
              <a:gd name="connsiteX72" fmla="*/ 2208882 w 9525000"/>
              <a:gd name="connsiteY72" fmla="*/ 568686 h 1933575"/>
              <a:gd name="connsiteX73" fmla="*/ 2336908 w 9525000"/>
              <a:gd name="connsiteY73" fmla="*/ 696759 h 1933575"/>
              <a:gd name="connsiteX74" fmla="*/ 1945514 w 9525000"/>
              <a:gd name="connsiteY74" fmla="*/ 1373715 h 1933575"/>
              <a:gd name="connsiteX75" fmla="*/ 2336908 w 9525000"/>
              <a:gd name="connsiteY75" fmla="*/ 1373715 h 1933575"/>
              <a:gd name="connsiteX76" fmla="*/ 2611249 w 9525000"/>
              <a:gd name="connsiteY76" fmla="*/ 963882 h 1933575"/>
              <a:gd name="connsiteX77" fmla="*/ 2925828 w 9525000"/>
              <a:gd name="connsiteY77" fmla="*/ 1274916 h 1933575"/>
              <a:gd name="connsiteX78" fmla="*/ 2519803 w 9525000"/>
              <a:gd name="connsiteY78" fmla="*/ 1542038 h 1933575"/>
              <a:gd name="connsiteX79" fmla="*/ 2519803 w 9525000"/>
              <a:gd name="connsiteY79" fmla="*/ 1933575 h 1933575"/>
              <a:gd name="connsiteX80" fmla="*/ 3203828 w 9525000"/>
              <a:gd name="connsiteY80" fmla="*/ 1556671 h 1933575"/>
              <a:gd name="connsiteX81" fmla="*/ 3869564 w 9525000"/>
              <a:gd name="connsiteY81" fmla="*/ 1933575 h 1933575"/>
              <a:gd name="connsiteX82" fmla="*/ 3869564 w 9525000"/>
              <a:gd name="connsiteY82" fmla="*/ 1542038 h 1933575"/>
              <a:gd name="connsiteX83" fmla="*/ 3437933 w 9525000"/>
              <a:gd name="connsiteY83" fmla="*/ 1234665 h 1933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9525000" h="1933575">
                <a:moveTo>
                  <a:pt x="7261088" y="1270740"/>
                </a:moveTo>
                <a:lnTo>
                  <a:pt x="7616309" y="1417225"/>
                </a:lnTo>
                <a:cubicBezTo>
                  <a:pt x="7499123" y="1757797"/>
                  <a:pt x="7228129" y="1918928"/>
                  <a:pt x="6905867" y="1918928"/>
                </a:cubicBezTo>
                <a:cubicBezTo>
                  <a:pt x="6393176" y="1918928"/>
                  <a:pt x="6162466" y="1611315"/>
                  <a:pt x="6162466" y="1201163"/>
                </a:cubicBezTo>
                <a:lnTo>
                  <a:pt x="6162466" y="695795"/>
                </a:lnTo>
                <a:lnTo>
                  <a:pt x="5979362" y="695795"/>
                </a:lnTo>
                <a:lnTo>
                  <a:pt x="5979362" y="333249"/>
                </a:lnTo>
                <a:lnTo>
                  <a:pt x="6162466" y="333249"/>
                </a:lnTo>
                <a:lnTo>
                  <a:pt x="6162466" y="38100"/>
                </a:lnTo>
                <a:lnTo>
                  <a:pt x="6594591" y="38100"/>
                </a:lnTo>
                <a:lnTo>
                  <a:pt x="6594591" y="333249"/>
                </a:lnTo>
                <a:lnTo>
                  <a:pt x="7403908" y="333249"/>
                </a:lnTo>
                <a:lnTo>
                  <a:pt x="7403908" y="695795"/>
                </a:lnTo>
                <a:lnTo>
                  <a:pt x="6594591" y="695795"/>
                </a:lnTo>
                <a:lnTo>
                  <a:pt x="6594591" y="1190175"/>
                </a:lnTo>
                <a:cubicBezTo>
                  <a:pt x="6594591" y="1418584"/>
                  <a:pt x="6737412" y="1523423"/>
                  <a:pt x="6916853" y="1523423"/>
                </a:cubicBezTo>
                <a:cubicBezTo>
                  <a:pt x="7059674" y="1523423"/>
                  <a:pt x="7185928" y="1469910"/>
                  <a:pt x="7261088" y="1270740"/>
                </a:cubicBezTo>
                <a:close/>
                <a:moveTo>
                  <a:pt x="9525000" y="43945"/>
                </a:moveTo>
                <a:lnTo>
                  <a:pt x="9525000" y="1874981"/>
                </a:lnTo>
                <a:lnTo>
                  <a:pt x="9122172" y="1874981"/>
                </a:lnTo>
                <a:lnTo>
                  <a:pt x="9122172" y="1666244"/>
                </a:lnTo>
                <a:lnTo>
                  <a:pt x="9107524" y="1666244"/>
                </a:lnTo>
                <a:cubicBezTo>
                  <a:pt x="9019634" y="1820050"/>
                  <a:pt x="8785261" y="1918927"/>
                  <a:pt x="8547227" y="1918927"/>
                </a:cubicBezTo>
                <a:cubicBezTo>
                  <a:pt x="8001578" y="1918927"/>
                  <a:pt x="7668329" y="1508774"/>
                  <a:pt x="7668329" y="959463"/>
                </a:cubicBezTo>
                <a:cubicBezTo>
                  <a:pt x="7668329" y="417481"/>
                  <a:pt x="8041862" y="0"/>
                  <a:pt x="8554550" y="0"/>
                </a:cubicBezTo>
                <a:cubicBezTo>
                  <a:pt x="8843854" y="0"/>
                  <a:pt x="9015972" y="117186"/>
                  <a:pt x="9107524" y="252683"/>
                </a:cubicBezTo>
                <a:lnTo>
                  <a:pt x="9122172" y="252683"/>
                </a:lnTo>
                <a:lnTo>
                  <a:pt x="9122172" y="43945"/>
                </a:lnTo>
                <a:close/>
                <a:moveTo>
                  <a:pt x="9085551" y="955801"/>
                </a:moveTo>
                <a:cubicBezTo>
                  <a:pt x="9085551" y="632472"/>
                  <a:pt x="8887799" y="388180"/>
                  <a:pt x="8609482" y="388180"/>
                </a:cubicBezTo>
                <a:cubicBezTo>
                  <a:pt x="8331164" y="388180"/>
                  <a:pt x="8137075" y="636065"/>
                  <a:pt x="8137075" y="955801"/>
                </a:cubicBezTo>
                <a:cubicBezTo>
                  <a:pt x="8137075" y="1297141"/>
                  <a:pt x="8331985" y="1523423"/>
                  <a:pt x="8609482" y="1523423"/>
                </a:cubicBezTo>
                <a:cubicBezTo>
                  <a:pt x="8889524" y="1523423"/>
                  <a:pt x="9085551" y="1300976"/>
                  <a:pt x="9085551" y="955801"/>
                </a:cubicBezTo>
                <a:close/>
                <a:moveTo>
                  <a:pt x="1787092" y="944815"/>
                </a:moveTo>
                <a:lnTo>
                  <a:pt x="1787092" y="1083976"/>
                </a:lnTo>
                <a:lnTo>
                  <a:pt x="457759" y="1083976"/>
                </a:lnTo>
                <a:cubicBezTo>
                  <a:pt x="468838" y="1353549"/>
                  <a:pt x="662832" y="1523425"/>
                  <a:pt x="897208" y="1523425"/>
                </a:cubicBezTo>
                <a:cubicBezTo>
                  <a:pt x="1120594" y="1523425"/>
                  <a:pt x="1268936" y="1424821"/>
                  <a:pt x="1351305" y="1245104"/>
                </a:cubicBezTo>
                <a:lnTo>
                  <a:pt x="1732161" y="1369614"/>
                </a:lnTo>
                <a:cubicBezTo>
                  <a:pt x="1596664" y="1717512"/>
                  <a:pt x="1274402" y="1918926"/>
                  <a:pt x="897208" y="1918926"/>
                </a:cubicBezTo>
                <a:cubicBezTo>
                  <a:pt x="380856" y="1918927"/>
                  <a:pt x="0" y="1530747"/>
                  <a:pt x="0" y="948477"/>
                </a:cubicBezTo>
                <a:cubicBezTo>
                  <a:pt x="0" y="410152"/>
                  <a:pt x="380856" y="0"/>
                  <a:pt x="897208" y="0"/>
                </a:cubicBezTo>
                <a:cubicBezTo>
                  <a:pt x="1413561" y="0"/>
                  <a:pt x="1787092" y="402827"/>
                  <a:pt x="1787092" y="944815"/>
                </a:cubicBezTo>
                <a:close/>
                <a:moveTo>
                  <a:pt x="1336655" y="765373"/>
                </a:moveTo>
                <a:cubicBezTo>
                  <a:pt x="1295221" y="531847"/>
                  <a:pt x="1127917" y="380856"/>
                  <a:pt x="897206" y="380856"/>
                </a:cubicBezTo>
                <a:cubicBezTo>
                  <a:pt x="666496" y="380856"/>
                  <a:pt x="498890" y="531755"/>
                  <a:pt x="468745" y="765373"/>
                </a:cubicBezTo>
                <a:close/>
                <a:moveTo>
                  <a:pt x="5857561" y="944815"/>
                </a:moveTo>
                <a:lnTo>
                  <a:pt x="5857561" y="1083976"/>
                </a:lnTo>
                <a:lnTo>
                  <a:pt x="4528228" y="1083976"/>
                </a:lnTo>
                <a:cubicBezTo>
                  <a:pt x="4539307" y="1353549"/>
                  <a:pt x="4733301" y="1523425"/>
                  <a:pt x="4967677" y="1523425"/>
                </a:cubicBezTo>
                <a:cubicBezTo>
                  <a:pt x="5191064" y="1523425"/>
                  <a:pt x="5339407" y="1424821"/>
                  <a:pt x="5421774" y="1245104"/>
                </a:cubicBezTo>
                <a:lnTo>
                  <a:pt x="5802630" y="1369615"/>
                </a:lnTo>
                <a:cubicBezTo>
                  <a:pt x="5667133" y="1717513"/>
                  <a:pt x="5344871" y="1918927"/>
                  <a:pt x="4967677" y="1918927"/>
                </a:cubicBezTo>
                <a:cubicBezTo>
                  <a:pt x="4451875" y="1918927"/>
                  <a:pt x="4070469" y="1530747"/>
                  <a:pt x="4070469" y="948477"/>
                </a:cubicBezTo>
                <a:cubicBezTo>
                  <a:pt x="4070469" y="406490"/>
                  <a:pt x="4451325" y="0"/>
                  <a:pt x="4967677" y="0"/>
                </a:cubicBezTo>
                <a:cubicBezTo>
                  <a:pt x="5484029" y="0"/>
                  <a:pt x="5857561" y="399166"/>
                  <a:pt x="5857561" y="944815"/>
                </a:cubicBezTo>
                <a:close/>
                <a:moveTo>
                  <a:pt x="5407124" y="765373"/>
                </a:moveTo>
                <a:cubicBezTo>
                  <a:pt x="5365690" y="531847"/>
                  <a:pt x="5198385" y="380856"/>
                  <a:pt x="4967674" y="380856"/>
                </a:cubicBezTo>
                <a:cubicBezTo>
                  <a:pt x="4736964" y="380856"/>
                  <a:pt x="4569357" y="531755"/>
                  <a:pt x="4539215" y="765373"/>
                </a:cubicBezTo>
                <a:close/>
                <a:moveTo>
                  <a:pt x="3437930" y="1234670"/>
                </a:moveTo>
                <a:cubicBezTo>
                  <a:pt x="3435952" y="1234712"/>
                  <a:pt x="3434314" y="1233142"/>
                  <a:pt x="3434272" y="1231164"/>
                </a:cubicBezTo>
                <a:cubicBezTo>
                  <a:pt x="3434271" y="1231113"/>
                  <a:pt x="3434271" y="1231061"/>
                  <a:pt x="3434272" y="1231010"/>
                </a:cubicBezTo>
                <a:cubicBezTo>
                  <a:pt x="3573272" y="1037072"/>
                  <a:pt x="3683008" y="923638"/>
                  <a:pt x="3851271" y="923638"/>
                </a:cubicBezTo>
                <a:lnTo>
                  <a:pt x="3851271" y="532095"/>
                </a:lnTo>
                <a:cubicBezTo>
                  <a:pt x="3522061" y="532095"/>
                  <a:pt x="3313562" y="737010"/>
                  <a:pt x="3152612" y="949245"/>
                </a:cubicBezTo>
                <a:lnTo>
                  <a:pt x="2936798" y="733352"/>
                </a:lnTo>
                <a:cubicBezTo>
                  <a:pt x="3150208" y="571398"/>
                  <a:pt x="3350144" y="369516"/>
                  <a:pt x="3350144" y="38100"/>
                </a:cubicBezTo>
                <a:lnTo>
                  <a:pt x="2955091" y="38100"/>
                </a:lnTo>
                <a:cubicBezTo>
                  <a:pt x="2955091" y="220467"/>
                  <a:pt x="2845355" y="334497"/>
                  <a:pt x="2669776" y="473547"/>
                </a:cubicBezTo>
                <a:lnTo>
                  <a:pt x="2486882" y="290587"/>
                </a:lnTo>
                <a:cubicBezTo>
                  <a:pt x="2447963" y="251651"/>
                  <a:pt x="2384461" y="144218"/>
                  <a:pt x="2384461" y="38100"/>
                </a:cubicBezTo>
                <a:lnTo>
                  <a:pt x="1985750" y="38100"/>
                </a:lnTo>
                <a:cubicBezTo>
                  <a:pt x="1985750" y="264972"/>
                  <a:pt x="2106461" y="466229"/>
                  <a:pt x="2208882" y="568686"/>
                </a:cubicBezTo>
                <a:lnTo>
                  <a:pt x="2336908" y="696759"/>
                </a:lnTo>
                <a:cubicBezTo>
                  <a:pt x="2132066" y="854106"/>
                  <a:pt x="1945514" y="1055362"/>
                  <a:pt x="1945514" y="1373715"/>
                </a:cubicBezTo>
                <a:lnTo>
                  <a:pt x="2336908" y="1373715"/>
                </a:lnTo>
                <a:cubicBezTo>
                  <a:pt x="2336908" y="1204518"/>
                  <a:pt x="2436914" y="1091049"/>
                  <a:pt x="2611249" y="963882"/>
                </a:cubicBezTo>
                <a:lnTo>
                  <a:pt x="2925828" y="1274916"/>
                </a:lnTo>
                <a:cubicBezTo>
                  <a:pt x="2801460" y="1443239"/>
                  <a:pt x="2688066" y="1542038"/>
                  <a:pt x="2519803" y="1542038"/>
                </a:cubicBezTo>
                <a:lnTo>
                  <a:pt x="2519803" y="1933575"/>
                </a:lnTo>
                <a:cubicBezTo>
                  <a:pt x="2838039" y="1933575"/>
                  <a:pt x="3042880" y="1757934"/>
                  <a:pt x="3203828" y="1556671"/>
                </a:cubicBezTo>
                <a:cubicBezTo>
                  <a:pt x="3350144" y="1714024"/>
                  <a:pt x="3587906" y="1933575"/>
                  <a:pt x="3869564" y="1933575"/>
                </a:cubicBezTo>
                <a:lnTo>
                  <a:pt x="3869564" y="1542038"/>
                </a:lnTo>
                <a:cubicBezTo>
                  <a:pt x="3723248" y="1542038"/>
                  <a:pt x="3529380" y="1333463"/>
                  <a:pt x="3437933" y="1234665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799"/>
          </a:p>
        </p:txBody>
      </p:sp>
    </p:spTree>
    <p:extLst>
      <p:ext uri="{BB962C8B-B14F-4D97-AF65-F5344CB8AC3E}">
        <p14:creationId xmlns:p14="http://schemas.microsoft.com/office/powerpoint/2010/main" val="937104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  <p:sldLayoutId id="2147483727" r:id="rId24"/>
    <p:sldLayoutId id="2147483728" r:id="rId25"/>
    <p:sldLayoutId id="2147483729" r:id="rId26"/>
    <p:sldLayoutId id="2147483730" r:id="rId27"/>
    <p:sldLayoutId id="2147483731" r:id="rId28"/>
    <p:sldLayoutId id="2147483732" r:id="rId29"/>
  </p:sldLayoutIdLst>
  <p:hf sldNum="0"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2799" b="1" i="0" kern="1200">
          <a:solidFill>
            <a:schemeClr val="tx1"/>
          </a:solidFill>
          <a:latin typeface="Bandeins Strange" pitchFamily="2" charset="0"/>
          <a:ea typeface="+mj-ea"/>
          <a:cs typeface="+mj-cs"/>
        </a:defRPr>
      </a:lvl1pPr>
    </p:titleStyle>
    <p:bodyStyle>
      <a:lvl1pPr marL="179946" indent="-179946" algn="l" defTabSz="590223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77747" indent="-177747" algn="l" defTabSz="590223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892" indent="-180921" algn="l" defTabSz="914126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838" indent="-179946" algn="l" defTabSz="590223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9784" indent="-179946" algn="l" defTabSz="590223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898255" indent="-179334" algn="l" defTabSz="590223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676" indent="-179946" algn="thaiDist" defTabSz="590223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899730" indent="0" algn="thaiDist" defTabSz="590223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9" orient="horz" pos="3906">
          <p15:clr>
            <a:srgbClr val="F26B43"/>
          </p15:clr>
        </p15:guide>
        <p15:guide id="10" orient="horz" pos="4069">
          <p15:clr>
            <a:srgbClr val="F26B43"/>
          </p15:clr>
        </p15:guide>
        <p15:guide id="11" orient="horz" pos="3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.xml"/><Relationship Id="rId6" Type="http://schemas.openxmlformats.org/officeDocument/2006/relationships/image" Target="../media/image1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2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4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1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18.svg"/><Relationship Id="rId4" Type="http://schemas.openxmlformats.org/officeDocument/2006/relationships/image" Target="../media/image17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25.emf"/><Relationship Id="rId4" Type="http://schemas.openxmlformats.org/officeDocument/2006/relationships/image" Target="../media/image2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29AE900D-B9BE-F54B-701B-3332DB3A05DF}"/>
              </a:ext>
            </a:extLst>
          </p:cNvPr>
          <p:cNvSpPr/>
          <p:nvPr/>
        </p:nvSpPr>
        <p:spPr>
          <a:xfrm>
            <a:off x="-1" y="1787"/>
            <a:ext cx="12188826" cy="685621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n ExtraBold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9730FEA-1063-8A77-5422-1203527DF1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80" imgH="481" progId="TCLayout.ActiveDocument.1">
                  <p:embed/>
                </p:oleObj>
              </mc:Choice>
              <mc:Fallback>
                <p:oleObj name="think-cell Folie" r:id="rId4" imgW="480" imgH="48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730FEA-1063-8A77-5422-1203527DF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0AC2AB4-40DB-E6A5-9FF4-7B9BD34D02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noProof="0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6130EC8D-B07B-B789-CC83-96F1671043E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301" y="4200266"/>
            <a:ext cx="3742350" cy="583048"/>
          </a:xfrm>
        </p:spPr>
        <p:txBody>
          <a:bodyPr/>
          <a:lstStyle/>
          <a:p>
            <a:r>
              <a:rPr lang="de-DE" b="1" noProof="0">
                <a:latin typeface="+mn-lt"/>
              </a:rPr>
              <a:t>Marvin Kruse</a:t>
            </a:r>
          </a:p>
          <a:p>
            <a:r>
              <a:rPr lang="de-DE" noProof="0">
                <a:latin typeface="+mn-lt"/>
              </a:rPr>
              <a:t>Technical Lead | OTTO Group</a:t>
            </a:r>
          </a:p>
          <a:p>
            <a:endParaRPr lang="de-DE" noProof="0">
              <a:latin typeface="+mn-lt"/>
            </a:endParaRPr>
          </a:p>
          <a:p>
            <a:r>
              <a:rPr lang="de-DE" b="1" noProof="0">
                <a:latin typeface="+mn-lt"/>
              </a:rPr>
              <a:t>André Lindenberg</a:t>
            </a:r>
          </a:p>
          <a:p>
            <a:r>
              <a:rPr lang="de-DE" noProof="0">
                <a:latin typeface="+mn-lt"/>
              </a:rPr>
              <a:t>Head </a:t>
            </a:r>
            <a:r>
              <a:rPr lang="de-DE" noProof="0" err="1">
                <a:latin typeface="+mn-lt"/>
              </a:rPr>
              <a:t>of</a:t>
            </a:r>
            <a:r>
              <a:rPr lang="de-DE" noProof="0">
                <a:latin typeface="+mn-lt"/>
              </a:rPr>
              <a:t> AI | Exxeta AG</a:t>
            </a:r>
          </a:p>
          <a:p>
            <a:endParaRPr lang="de-DE" noProof="0">
              <a:latin typeface="+mn-lt"/>
            </a:endParaRP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8EF442D9-678A-A915-915A-D309E461F36A}"/>
              </a:ext>
            </a:extLst>
          </p:cNvPr>
          <p:cNvSpPr txBox="1">
            <a:spLocks/>
          </p:cNvSpPr>
          <p:nvPr/>
        </p:nvSpPr>
        <p:spPr>
          <a:xfrm>
            <a:off x="493057" y="2344034"/>
            <a:ext cx="6188298" cy="584048"/>
          </a:xfrm>
          <a:prstGeom prst="rect">
            <a:avLst/>
          </a:prstGeom>
        </p:spPr>
        <p:txBody>
          <a:bodyPr/>
          <a:lstStyle>
            <a:lvl1pPr marL="180000" indent="-180000" algn="l" defTabSz="590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590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590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590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8525" indent="-179388" algn="l" defTabSz="590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thaiDist" defTabSz="590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0" algn="thaiDist" defTabSz="590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90223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999" b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n ExtraBold" pitchFamily="2" charset="0"/>
              </a:rPr>
              <a:t>AI-Agents zwischen Hype und Produktivität</a:t>
            </a:r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93CA63D0-5D59-034D-D255-78A0041DF022}"/>
              </a:ext>
            </a:extLst>
          </p:cNvPr>
          <p:cNvCxnSpPr/>
          <p:nvPr/>
        </p:nvCxnSpPr>
        <p:spPr>
          <a:xfrm>
            <a:off x="1982567" y="6198273"/>
            <a:ext cx="260476" cy="26047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5C126042-5645-4DBE-DE60-05A1FD9F311A}"/>
              </a:ext>
            </a:extLst>
          </p:cNvPr>
          <p:cNvCxnSpPr>
            <a:cxnSpLocks/>
          </p:cNvCxnSpPr>
          <p:nvPr/>
        </p:nvCxnSpPr>
        <p:spPr>
          <a:xfrm flipH="1">
            <a:off x="1982567" y="6198273"/>
            <a:ext cx="260476" cy="26047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55E47D32-A017-D9F3-BC61-07BCDA2713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6081" y="621424"/>
            <a:ext cx="10434447" cy="2710089"/>
          </a:xfrm>
        </p:spPr>
        <p:txBody>
          <a:bodyPr vert="horz"/>
          <a:lstStyle/>
          <a:p>
            <a:r>
              <a:rPr lang="de-DE" sz="5400" noProof="0">
                <a:latin typeface="Bandeins Strange Bold Extd Full" pitchFamily="2" charset="0"/>
                <a:ea typeface="Inter" pitchFamily="34" charset="-122"/>
                <a:cs typeface="Inter" pitchFamily="34" charset="-120"/>
              </a:rPr>
              <a:t>AGENTIC</a:t>
            </a:r>
            <a:r>
              <a:rPr lang="de-DE" sz="5400" noProof="0">
                <a:latin typeface="+mj-lt"/>
                <a:ea typeface="Inter" pitchFamily="34" charset="-122"/>
                <a:cs typeface="Inter" pitchFamily="34" charset="-120"/>
              </a:rPr>
              <a:t> AI IM</a:t>
            </a:r>
            <a:br>
              <a:rPr lang="de-DE" sz="5400" noProof="0">
                <a:latin typeface="+mj-lt"/>
                <a:ea typeface="Inter" pitchFamily="34" charset="-122"/>
                <a:cs typeface="Inter" pitchFamily="34" charset="-120"/>
              </a:rPr>
            </a:br>
            <a:r>
              <a:rPr lang="de-DE" sz="5400" noProof="0">
                <a:latin typeface="+mj-lt"/>
                <a:ea typeface="Inter" pitchFamily="34" charset="-122"/>
                <a:cs typeface="Inter" pitchFamily="34" charset="-120"/>
              </a:rPr>
              <a:t>RE</a:t>
            </a:r>
            <a:r>
              <a:rPr lang="de-DE" sz="5400" noProof="0">
                <a:latin typeface="Bandeins Strange Bold Extd Full" pitchFamily="2" charset="0"/>
                <a:ea typeface="Inter" pitchFamily="34" charset="-122"/>
                <a:cs typeface="Inter" pitchFamily="34" charset="-120"/>
              </a:rPr>
              <a:t>ALITÄTSC</a:t>
            </a:r>
            <a:r>
              <a:rPr lang="de-DE" sz="5400" noProof="0">
                <a:latin typeface="+mj-lt"/>
                <a:ea typeface="Inter" pitchFamily="34" charset="-122"/>
                <a:cs typeface="Inter" pitchFamily="34" charset="-120"/>
              </a:rPr>
              <a:t>H</a:t>
            </a:r>
            <a:r>
              <a:rPr lang="de-DE" sz="5400" noProof="0">
                <a:latin typeface="Bandeins Strange" pitchFamily="2" charset="0"/>
                <a:ea typeface="Inter" pitchFamily="34" charset="-122"/>
                <a:cs typeface="Inter" pitchFamily="34" charset="-120"/>
              </a:rPr>
              <a:t>E</a:t>
            </a:r>
            <a:r>
              <a:rPr lang="de-DE" sz="5400" noProof="0">
                <a:latin typeface="Bandeins Strange Bold Extd Full" pitchFamily="2" charset="0"/>
                <a:ea typeface="Inter" pitchFamily="34" charset="-122"/>
                <a:cs typeface="Inter" pitchFamily="34" charset="-120"/>
              </a:rPr>
              <a:t>C</a:t>
            </a:r>
            <a:r>
              <a:rPr lang="de-DE" sz="5400" noProof="0">
                <a:latin typeface="Bandeins Strange Bold Extd Half" pitchFamily="2" charset="0"/>
                <a:ea typeface="Inter" pitchFamily="34" charset="-122"/>
                <a:cs typeface="Inter" pitchFamily="34" charset="-120"/>
              </a:rPr>
              <a:t>K</a:t>
            </a:r>
            <a:endParaRPr lang="de-DE" sz="5400" noProof="0">
              <a:latin typeface="Bandeins Strange Bold Extd Half" pitchFamily="2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26A4580-6654-CEDB-51F5-4E830A9A2C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39281" y="457608"/>
            <a:ext cx="4215396" cy="607701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C170ED0-6481-2B26-0086-B1F0C379D3F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20081" y="6198273"/>
            <a:ext cx="770772" cy="26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1288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CDBB4F-FC30-7C2B-9611-D596350A6D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 7">
            <a:extLst>
              <a:ext uri="{FF2B5EF4-FFF2-40B4-BE49-F238E27FC236}">
                <a16:creationId xmlns:a16="http://schemas.microsoft.com/office/drawing/2014/main" id="{D1CC6440-A98A-8734-A42F-88EB5EA4D0B3}"/>
              </a:ext>
            </a:extLst>
          </p:cNvPr>
          <p:cNvSpPr/>
          <p:nvPr/>
        </p:nvSpPr>
        <p:spPr>
          <a:xfrm>
            <a:off x="348389" y="1521045"/>
            <a:ext cx="6378728" cy="4827620"/>
          </a:xfrm>
          <a:custGeom>
            <a:avLst/>
            <a:gdLst>
              <a:gd name="csX0" fmla="*/ 5877207 w 6357676"/>
              <a:gd name="csY0" fmla="*/ 4812188 h 4852828"/>
              <a:gd name="csX1" fmla="*/ 4597047 w 6357676"/>
              <a:gd name="csY1" fmla="*/ 3572668 h 4852828"/>
              <a:gd name="csX2" fmla="*/ 2707287 w 6357676"/>
              <a:gd name="csY2" fmla="*/ 3501548 h 4852828"/>
              <a:gd name="csX3" fmla="*/ 1142647 w 6357676"/>
              <a:gd name="csY3" fmla="*/ 2556668 h 4852828"/>
              <a:gd name="csX4" fmla="*/ 25047 w 6357676"/>
              <a:gd name="csY4" fmla="*/ 2363628 h 4852828"/>
              <a:gd name="csX5" fmla="*/ 533047 w 6357676"/>
              <a:gd name="csY5" fmla="*/ 1012348 h 4852828"/>
              <a:gd name="csX6" fmla="*/ 2392327 w 6357676"/>
              <a:gd name="csY6" fmla="*/ 1428908 h 4852828"/>
              <a:gd name="csX7" fmla="*/ 3906167 w 6357676"/>
              <a:gd name="csY7" fmla="*/ 189388 h 4852828"/>
              <a:gd name="csX8" fmla="*/ 5592727 w 6357676"/>
              <a:gd name="csY8" fmla="*/ 189388 h 4852828"/>
              <a:gd name="csX9" fmla="*/ 6354727 w 6357676"/>
              <a:gd name="csY9" fmla="*/ 1957228 h 4852828"/>
              <a:gd name="csX10" fmla="*/ 5806087 w 6357676"/>
              <a:gd name="csY10" fmla="*/ 4852828 h 4852828"/>
              <a:gd name="csX0" fmla="*/ 5876520 w 6356989"/>
              <a:gd name="csY0" fmla="*/ 4799856 h 4840496"/>
              <a:gd name="csX1" fmla="*/ 4596360 w 6356989"/>
              <a:gd name="csY1" fmla="*/ 3560336 h 4840496"/>
              <a:gd name="csX2" fmla="*/ 2706600 w 6356989"/>
              <a:gd name="csY2" fmla="*/ 3489216 h 4840496"/>
              <a:gd name="csX3" fmla="*/ 1141960 w 6356989"/>
              <a:gd name="csY3" fmla="*/ 2544336 h 4840496"/>
              <a:gd name="csX4" fmla="*/ 24360 w 6356989"/>
              <a:gd name="csY4" fmla="*/ 2351296 h 4840496"/>
              <a:gd name="csX5" fmla="*/ 532360 w 6356989"/>
              <a:gd name="csY5" fmla="*/ 1000016 h 4840496"/>
              <a:gd name="csX6" fmla="*/ 2330680 w 6356989"/>
              <a:gd name="csY6" fmla="*/ 1193056 h 4840496"/>
              <a:gd name="csX7" fmla="*/ 3905480 w 6356989"/>
              <a:gd name="csY7" fmla="*/ 177056 h 4840496"/>
              <a:gd name="csX8" fmla="*/ 5592040 w 6356989"/>
              <a:gd name="csY8" fmla="*/ 177056 h 4840496"/>
              <a:gd name="csX9" fmla="*/ 6354040 w 6356989"/>
              <a:gd name="csY9" fmla="*/ 1944896 h 4840496"/>
              <a:gd name="csX10" fmla="*/ 5805400 w 6356989"/>
              <a:gd name="csY10" fmla="*/ 4840496 h 4840496"/>
              <a:gd name="csX0" fmla="*/ 5876015 w 6356484"/>
              <a:gd name="csY0" fmla="*/ 4788238 h 4828878"/>
              <a:gd name="csX1" fmla="*/ 4595855 w 6356484"/>
              <a:gd name="csY1" fmla="*/ 3548718 h 4828878"/>
              <a:gd name="csX2" fmla="*/ 2706095 w 6356484"/>
              <a:gd name="csY2" fmla="*/ 3477598 h 4828878"/>
              <a:gd name="csX3" fmla="*/ 1141455 w 6356484"/>
              <a:gd name="csY3" fmla="*/ 2532718 h 4828878"/>
              <a:gd name="csX4" fmla="*/ 23855 w 6356484"/>
              <a:gd name="csY4" fmla="*/ 2339678 h 4828878"/>
              <a:gd name="csX5" fmla="*/ 531855 w 6356484"/>
              <a:gd name="csY5" fmla="*/ 988398 h 4828878"/>
              <a:gd name="csX6" fmla="*/ 2283510 w 6356484"/>
              <a:gd name="csY6" fmla="*/ 957444 h 4828878"/>
              <a:gd name="csX7" fmla="*/ 3904975 w 6356484"/>
              <a:gd name="csY7" fmla="*/ 165438 h 4828878"/>
              <a:gd name="csX8" fmla="*/ 5591535 w 6356484"/>
              <a:gd name="csY8" fmla="*/ 165438 h 4828878"/>
              <a:gd name="csX9" fmla="*/ 6353535 w 6356484"/>
              <a:gd name="csY9" fmla="*/ 1933278 h 4828878"/>
              <a:gd name="csX10" fmla="*/ 5804895 w 6356484"/>
              <a:gd name="csY10" fmla="*/ 4828878 h 4828878"/>
              <a:gd name="csX0" fmla="*/ 5873934 w 6354403"/>
              <a:gd name="csY0" fmla="*/ 4788238 h 4828878"/>
              <a:gd name="csX1" fmla="*/ 4593774 w 6354403"/>
              <a:gd name="csY1" fmla="*/ 3548718 h 4828878"/>
              <a:gd name="csX2" fmla="*/ 2704014 w 6354403"/>
              <a:gd name="csY2" fmla="*/ 3477598 h 4828878"/>
              <a:gd name="csX3" fmla="*/ 1102042 w 6354403"/>
              <a:gd name="csY3" fmla="*/ 2794043 h 4828878"/>
              <a:gd name="csX4" fmla="*/ 21774 w 6354403"/>
              <a:gd name="csY4" fmla="*/ 2339678 h 4828878"/>
              <a:gd name="csX5" fmla="*/ 529774 w 6354403"/>
              <a:gd name="csY5" fmla="*/ 988398 h 4828878"/>
              <a:gd name="csX6" fmla="*/ 2281429 w 6354403"/>
              <a:gd name="csY6" fmla="*/ 957444 h 4828878"/>
              <a:gd name="csX7" fmla="*/ 3902894 w 6354403"/>
              <a:gd name="csY7" fmla="*/ 165438 h 4828878"/>
              <a:gd name="csX8" fmla="*/ 5589454 w 6354403"/>
              <a:gd name="csY8" fmla="*/ 165438 h 4828878"/>
              <a:gd name="csX9" fmla="*/ 6351454 w 6354403"/>
              <a:gd name="csY9" fmla="*/ 1933278 h 4828878"/>
              <a:gd name="csX10" fmla="*/ 5802814 w 6354403"/>
              <a:gd name="csY10" fmla="*/ 4828878 h 4828878"/>
              <a:gd name="csX0" fmla="*/ 5873934 w 6354403"/>
              <a:gd name="csY0" fmla="*/ 4788238 h 4828878"/>
              <a:gd name="csX1" fmla="*/ 4593774 w 6354403"/>
              <a:gd name="csY1" fmla="*/ 3548718 h 4828878"/>
              <a:gd name="csX2" fmla="*/ 2704014 w 6354403"/>
              <a:gd name="csY2" fmla="*/ 3477598 h 4828878"/>
              <a:gd name="csX3" fmla="*/ 1102042 w 6354403"/>
              <a:gd name="csY3" fmla="*/ 2794043 h 4828878"/>
              <a:gd name="csX4" fmla="*/ 21774 w 6354403"/>
              <a:gd name="csY4" fmla="*/ 2339678 h 4828878"/>
              <a:gd name="csX5" fmla="*/ 529774 w 6354403"/>
              <a:gd name="csY5" fmla="*/ 988398 h 4828878"/>
              <a:gd name="csX6" fmla="*/ 2281429 w 6354403"/>
              <a:gd name="csY6" fmla="*/ 957444 h 4828878"/>
              <a:gd name="csX7" fmla="*/ 3902894 w 6354403"/>
              <a:gd name="csY7" fmla="*/ 165438 h 4828878"/>
              <a:gd name="csX8" fmla="*/ 5589454 w 6354403"/>
              <a:gd name="csY8" fmla="*/ 165438 h 4828878"/>
              <a:gd name="csX9" fmla="*/ 6351454 w 6354403"/>
              <a:gd name="csY9" fmla="*/ 1933278 h 4828878"/>
              <a:gd name="csX10" fmla="*/ 5802814 w 6354403"/>
              <a:gd name="csY10" fmla="*/ 4828878 h 4828878"/>
              <a:gd name="csX0" fmla="*/ 5899920 w 6380389"/>
              <a:gd name="csY0" fmla="*/ 4788238 h 4828878"/>
              <a:gd name="csX1" fmla="*/ 4619760 w 6380389"/>
              <a:gd name="csY1" fmla="*/ 3548718 h 4828878"/>
              <a:gd name="csX2" fmla="*/ 2730000 w 6380389"/>
              <a:gd name="csY2" fmla="*/ 3477598 h 4828878"/>
              <a:gd name="csX3" fmla="*/ 1128028 w 6380389"/>
              <a:gd name="csY3" fmla="*/ 2794043 h 4828878"/>
              <a:gd name="csX4" fmla="*/ 47760 w 6380389"/>
              <a:gd name="csY4" fmla="*/ 2339678 h 4828878"/>
              <a:gd name="csX5" fmla="*/ 406431 w 6380389"/>
              <a:gd name="csY5" fmla="*/ 923067 h 4828878"/>
              <a:gd name="csX6" fmla="*/ 2307415 w 6380389"/>
              <a:gd name="csY6" fmla="*/ 957444 h 4828878"/>
              <a:gd name="csX7" fmla="*/ 3928880 w 6380389"/>
              <a:gd name="csY7" fmla="*/ 165438 h 4828878"/>
              <a:gd name="csX8" fmla="*/ 5615440 w 6380389"/>
              <a:gd name="csY8" fmla="*/ 165438 h 4828878"/>
              <a:gd name="csX9" fmla="*/ 6377440 w 6380389"/>
              <a:gd name="csY9" fmla="*/ 1933278 h 4828878"/>
              <a:gd name="csX10" fmla="*/ 5828800 w 6380389"/>
              <a:gd name="csY10" fmla="*/ 4828878 h 4828878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  <a:cxn ang="0">
                <a:pos x="csX4" y="csY4"/>
              </a:cxn>
              <a:cxn ang="0">
                <a:pos x="csX5" y="csY5"/>
              </a:cxn>
              <a:cxn ang="0">
                <a:pos x="csX6" y="csY6"/>
              </a:cxn>
              <a:cxn ang="0">
                <a:pos x="csX7" y="csY7"/>
              </a:cxn>
              <a:cxn ang="0">
                <a:pos x="csX8" y="csY8"/>
              </a:cxn>
              <a:cxn ang="0">
                <a:pos x="csX9" y="csY9"/>
              </a:cxn>
              <a:cxn ang="0">
                <a:pos x="csX10" y="csY10"/>
              </a:cxn>
            </a:cxnLst>
            <a:rect l="l" t="t" r="r" b="b"/>
            <a:pathLst>
              <a:path w="6380389" h="4828878">
                <a:moveTo>
                  <a:pt x="5899920" y="4788238"/>
                </a:moveTo>
                <a:cubicBezTo>
                  <a:pt x="5524000" y="4277698"/>
                  <a:pt x="5148080" y="3767158"/>
                  <a:pt x="4619760" y="3548718"/>
                </a:cubicBezTo>
                <a:cubicBezTo>
                  <a:pt x="4091440" y="3330278"/>
                  <a:pt x="3311955" y="3603377"/>
                  <a:pt x="2730000" y="3477598"/>
                </a:cubicBezTo>
                <a:cubicBezTo>
                  <a:pt x="2148045" y="3351819"/>
                  <a:pt x="1575068" y="3226356"/>
                  <a:pt x="1128028" y="2794043"/>
                </a:cubicBezTo>
                <a:cubicBezTo>
                  <a:pt x="680988" y="2361730"/>
                  <a:pt x="168026" y="2651507"/>
                  <a:pt x="47760" y="2339678"/>
                </a:cubicBezTo>
                <a:cubicBezTo>
                  <a:pt x="-72506" y="2027849"/>
                  <a:pt x="29822" y="1153439"/>
                  <a:pt x="406431" y="923067"/>
                </a:cubicBezTo>
                <a:cubicBezTo>
                  <a:pt x="783040" y="692695"/>
                  <a:pt x="1720340" y="1083715"/>
                  <a:pt x="2307415" y="957444"/>
                </a:cubicBezTo>
                <a:cubicBezTo>
                  <a:pt x="2894490" y="831173"/>
                  <a:pt x="3377543" y="297439"/>
                  <a:pt x="3928880" y="165438"/>
                </a:cubicBezTo>
                <a:cubicBezTo>
                  <a:pt x="4480217" y="33437"/>
                  <a:pt x="5207347" y="-129202"/>
                  <a:pt x="5615440" y="165438"/>
                </a:cubicBezTo>
                <a:cubicBezTo>
                  <a:pt x="6023533" y="460078"/>
                  <a:pt x="6341880" y="1156038"/>
                  <a:pt x="6377440" y="1933278"/>
                </a:cubicBezTo>
                <a:cubicBezTo>
                  <a:pt x="6413000" y="2710518"/>
                  <a:pt x="6120900" y="3769698"/>
                  <a:pt x="5828800" y="4828878"/>
                </a:cubicBezTo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de-DE" sz="1600" noProof="0">
              <a:solidFill>
                <a:prstClr val="white"/>
              </a:solidFill>
              <a:latin typeface="Sen ExtraBold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A31FDF5-A127-4F1F-2955-518D90CF9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Ein Team mit vs. ohne AI-</a:t>
            </a:r>
            <a:r>
              <a:rPr lang="de-DE" noProof="0" err="1"/>
              <a:t>Enablement</a:t>
            </a:r>
            <a:br>
              <a:rPr lang="de-DE" noProof="0"/>
            </a:br>
            <a:endParaRPr lang="de-DE" noProof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819B339-EE0B-1903-AAC1-4912A0889A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74ED02-B200-A5BA-1FB5-3FBBE67F2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>
                <a:latin typeface="Sen ExtraBold"/>
              </a:rPr>
              <a:t>Exxeta x OTTO | trade/off Summit | Heidelberg</a:t>
            </a:r>
          </a:p>
        </p:txBody>
      </p:sp>
      <p:sp>
        <p:nvSpPr>
          <p:cNvPr id="9" name="Text 2">
            <a:extLst>
              <a:ext uri="{FF2B5EF4-FFF2-40B4-BE49-F238E27FC236}">
                <a16:creationId xmlns:a16="http://schemas.microsoft.com/office/drawing/2014/main" id="{FE35CAD6-C645-DF05-E093-10E125074950}"/>
              </a:ext>
            </a:extLst>
          </p:cNvPr>
          <p:cNvSpPr/>
          <p:nvPr/>
        </p:nvSpPr>
        <p:spPr>
          <a:xfrm>
            <a:off x="846494" y="2608063"/>
            <a:ext cx="2199619" cy="228601"/>
          </a:xfrm>
          <a:prstGeom prst="rect">
            <a:avLst/>
          </a:prstGeom>
          <a:solidFill>
            <a:schemeClr val="accent2"/>
          </a:solidFill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de-DE" sz="1800" b="1" noProof="0">
                <a:ea typeface="Inter" pitchFamily="34" charset="-122"/>
                <a:cs typeface="Inter" pitchFamily="34" charset="-120"/>
              </a:rPr>
              <a:t>Ohne </a:t>
            </a:r>
            <a:r>
              <a:rPr lang="de-DE" sz="1800" b="1" noProof="0" err="1">
                <a:ea typeface="Inter" pitchFamily="34" charset="-122"/>
                <a:cs typeface="Inter" pitchFamily="34" charset="-120"/>
              </a:rPr>
              <a:t>Enablement</a:t>
            </a:r>
            <a:endParaRPr lang="de-DE" sz="1800" noProof="0"/>
          </a:p>
        </p:txBody>
      </p:sp>
      <p:sp>
        <p:nvSpPr>
          <p:cNvPr id="12" name="Text 9">
            <a:extLst>
              <a:ext uri="{FF2B5EF4-FFF2-40B4-BE49-F238E27FC236}">
                <a16:creationId xmlns:a16="http://schemas.microsoft.com/office/drawing/2014/main" id="{2AD294E0-CBC6-595E-C0A7-BB07B358A4F5}"/>
              </a:ext>
            </a:extLst>
          </p:cNvPr>
          <p:cNvSpPr/>
          <p:nvPr/>
        </p:nvSpPr>
        <p:spPr>
          <a:xfrm>
            <a:off x="8572444" y="2539483"/>
            <a:ext cx="502920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>
              <a:buNone/>
            </a:pPr>
            <a:r>
              <a:rPr lang="de-DE" sz="1800" b="1" noProof="0">
                <a:ea typeface="Inter" pitchFamily="34" charset="-122"/>
                <a:cs typeface="Inter" pitchFamily="34" charset="-120"/>
              </a:rPr>
              <a:t>Mit </a:t>
            </a:r>
            <a:r>
              <a:rPr lang="de-DE" sz="1800" b="1" noProof="0" err="1">
                <a:ea typeface="Inter" pitchFamily="34" charset="-122"/>
                <a:cs typeface="Inter" pitchFamily="34" charset="-120"/>
              </a:rPr>
              <a:t>Enablement</a:t>
            </a:r>
            <a:endParaRPr lang="de-DE" sz="1800" noProof="0"/>
          </a:p>
        </p:txBody>
      </p:sp>
      <p:sp>
        <p:nvSpPr>
          <p:cNvPr id="16" name="Text 5">
            <a:extLst>
              <a:ext uri="{FF2B5EF4-FFF2-40B4-BE49-F238E27FC236}">
                <a16:creationId xmlns:a16="http://schemas.microsoft.com/office/drawing/2014/main" id="{C54563F8-052A-9AE2-D2B2-81978F30B244}"/>
              </a:ext>
            </a:extLst>
          </p:cNvPr>
          <p:cNvSpPr/>
          <p:nvPr/>
        </p:nvSpPr>
        <p:spPr>
          <a:xfrm>
            <a:off x="8572444" y="2901142"/>
            <a:ext cx="3205731" cy="91116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spcAft>
                <a:spcPts val="1200"/>
              </a:spcAft>
            </a:pPr>
            <a:r>
              <a:rPr lang="de-DE" sz="1400" noProof="0">
                <a:ea typeface="Inter" pitchFamily="34" charset="-122"/>
                <a:cs typeface="Inter" pitchFamily="34" charset="-120"/>
              </a:rPr>
              <a:t>Produktivitätssprung — Teams nutzen AI gezielt und effizient</a:t>
            </a:r>
          </a:p>
          <a:p>
            <a:pPr>
              <a:spcAft>
                <a:spcPts val="1200"/>
              </a:spcAft>
            </a:pPr>
            <a:r>
              <a:rPr lang="de-DE" sz="1400" noProof="0">
                <a:ea typeface="Inter" pitchFamily="34" charset="-122"/>
                <a:cs typeface="Inter" pitchFamily="34" charset="-120"/>
              </a:rPr>
              <a:t>Geteilte Best Practices — Wissen wird im Team skalierbar</a:t>
            </a:r>
            <a:endParaRPr lang="de-DE" sz="1400" noProof="0"/>
          </a:p>
          <a:p>
            <a:pPr>
              <a:spcAft>
                <a:spcPts val="1200"/>
              </a:spcAft>
            </a:pPr>
            <a:endParaRPr lang="de-DE" sz="1400" noProof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64DFB240-B0CF-B395-D78B-11C6C69F54D5}"/>
              </a:ext>
            </a:extLst>
          </p:cNvPr>
          <p:cNvGrpSpPr/>
          <p:nvPr/>
        </p:nvGrpSpPr>
        <p:grpSpPr>
          <a:xfrm>
            <a:off x="4115656" y="1215441"/>
            <a:ext cx="3955324" cy="5427212"/>
            <a:chOff x="3937251" y="787944"/>
            <a:chExt cx="4312134" cy="5916802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33DED4C5-2FAE-F545-6E89-CE79311A97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37251" y="787944"/>
              <a:ext cx="4312134" cy="5916802"/>
            </a:xfrm>
            <a:prstGeom prst="rect">
              <a:avLst/>
            </a:prstGeom>
          </p:spPr>
        </p:pic>
        <p:sp>
          <p:nvSpPr>
            <p:cNvPr id="17" name="Abgerundetes Rechteck 16">
              <a:extLst>
                <a:ext uri="{FF2B5EF4-FFF2-40B4-BE49-F238E27FC236}">
                  <a16:creationId xmlns:a16="http://schemas.microsoft.com/office/drawing/2014/main" id="{80735909-A77F-E1E5-732D-E4423B293B0B}"/>
                </a:ext>
              </a:extLst>
            </p:cNvPr>
            <p:cNvSpPr/>
            <p:nvPr/>
          </p:nvSpPr>
          <p:spPr>
            <a:xfrm>
              <a:off x="4499264" y="2901142"/>
              <a:ext cx="353291" cy="18495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tlCol="0" anchor="ctr"/>
            <a:lstStyle/>
            <a:p>
              <a:pPr algn="l"/>
              <a:endParaRPr lang="de-DE" sz="1100" noProof="0">
                <a:solidFill>
                  <a:schemeClr val="tx1"/>
                </a:solidFill>
              </a:endParaRPr>
            </a:p>
          </p:txBody>
        </p:sp>
        <p:sp>
          <p:nvSpPr>
            <p:cNvPr id="18" name="Abgerundetes Rechteck 17">
              <a:extLst>
                <a:ext uri="{FF2B5EF4-FFF2-40B4-BE49-F238E27FC236}">
                  <a16:creationId xmlns:a16="http://schemas.microsoft.com/office/drawing/2014/main" id="{66AC7ED5-3921-9A2D-A44B-8CFDAED51082}"/>
                </a:ext>
              </a:extLst>
            </p:cNvPr>
            <p:cNvSpPr/>
            <p:nvPr/>
          </p:nvSpPr>
          <p:spPr>
            <a:xfrm rot="19385345">
              <a:off x="4966855" y="4397433"/>
              <a:ext cx="353291" cy="18495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tlCol="0" anchor="ctr"/>
            <a:lstStyle/>
            <a:p>
              <a:pPr algn="l"/>
              <a:endParaRPr lang="de-DE" sz="1100" noProof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>
              <a:extLst>
                <a:ext uri="{FF2B5EF4-FFF2-40B4-BE49-F238E27FC236}">
                  <a16:creationId xmlns:a16="http://schemas.microsoft.com/office/drawing/2014/main" id="{534A2091-EFEB-C7B6-164F-BD32D32BDE26}"/>
                </a:ext>
              </a:extLst>
            </p:cNvPr>
            <p:cNvSpPr/>
            <p:nvPr/>
          </p:nvSpPr>
          <p:spPr>
            <a:xfrm>
              <a:off x="5091937" y="4460346"/>
              <a:ext cx="92314" cy="129846"/>
            </a:xfrm>
            <a:custGeom>
              <a:avLst/>
              <a:gdLst>
                <a:gd name="csX0" fmla="*/ 847 w 92314"/>
                <a:gd name="csY0" fmla="*/ 75320 h 129846"/>
                <a:gd name="csX1" fmla="*/ 43237 w 92314"/>
                <a:gd name="csY1" fmla="*/ 8708 h 129846"/>
                <a:gd name="csX2" fmla="*/ 91682 w 92314"/>
                <a:gd name="csY2" fmla="*/ 8708 h 129846"/>
                <a:gd name="csX3" fmla="*/ 67459 w 92314"/>
                <a:gd name="csY3" fmla="*/ 81376 h 129846"/>
                <a:gd name="csX4" fmla="*/ 19014 w 92314"/>
                <a:gd name="csY4" fmla="*/ 129821 h 129846"/>
                <a:gd name="csX5" fmla="*/ 847 w 92314"/>
                <a:gd name="csY5" fmla="*/ 75320 h 12984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92314" h="129846">
                  <a:moveTo>
                    <a:pt x="847" y="75320"/>
                  </a:moveTo>
                  <a:cubicBezTo>
                    <a:pt x="4884" y="55134"/>
                    <a:pt x="28098" y="19810"/>
                    <a:pt x="43237" y="8708"/>
                  </a:cubicBezTo>
                  <a:cubicBezTo>
                    <a:pt x="58376" y="-2394"/>
                    <a:pt x="87645" y="-3403"/>
                    <a:pt x="91682" y="8708"/>
                  </a:cubicBezTo>
                  <a:cubicBezTo>
                    <a:pt x="95719" y="20819"/>
                    <a:pt x="79570" y="61191"/>
                    <a:pt x="67459" y="81376"/>
                  </a:cubicBezTo>
                  <a:cubicBezTo>
                    <a:pt x="55348" y="101561"/>
                    <a:pt x="30116" y="130830"/>
                    <a:pt x="19014" y="129821"/>
                  </a:cubicBezTo>
                  <a:cubicBezTo>
                    <a:pt x="7912" y="128812"/>
                    <a:pt x="-3190" y="95506"/>
                    <a:pt x="847" y="75320"/>
                  </a:cubicBezTo>
                  <a:close/>
                </a:path>
              </a:pathLst>
            </a:cu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tlCol="0" anchor="ctr"/>
            <a:lstStyle/>
            <a:p>
              <a:pPr algn="l"/>
              <a:endParaRPr lang="de-DE" sz="1100" noProof="0">
                <a:solidFill>
                  <a:schemeClr val="tx1"/>
                </a:solidFill>
              </a:endParaRPr>
            </a:p>
          </p:txBody>
        </p:sp>
        <p:sp>
          <p:nvSpPr>
            <p:cNvPr id="26" name="Abgerundetes Rechteck 25">
              <a:extLst>
                <a:ext uri="{FF2B5EF4-FFF2-40B4-BE49-F238E27FC236}">
                  <a16:creationId xmlns:a16="http://schemas.microsoft.com/office/drawing/2014/main" id="{511B4BCF-3943-8030-A4EB-9E6210D6F881}"/>
                </a:ext>
              </a:extLst>
            </p:cNvPr>
            <p:cNvSpPr/>
            <p:nvPr/>
          </p:nvSpPr>
          <p:spPr>
            <a:xfrm rot="21114140">
              <a:off x="5563459" y="3270288"/>
              <a:ext cx="241011" cy="1088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tlCol="0" anchor="ctr"/>
            <a:lstStyle/>
            <a:p>
              <a:pPr algn="l"/>
              <a:endParaRPr lang="de-DE" sz="1100" noProof="0">
                <a:solidFill>
                  <a:schemeClr val="tx1"/>
                </a:solidFill>
              </a:endParaRPr>
            </a:p>
          </p:txBody>
        </p:sp>
        <p:sp>
          <p:nvSpPr>
            <p:cNvPr id="25" name="Freihandform 24">
              <a:extLst>
                <a:ext uri="{FF2B5EF4-FFF2-40B4-BE49-F238E27FC236}">
                  <a16:creationId xmlns:a16="http://schemas.microsoft.com/office/drawing/2014/main" id="{28919AD4-4314-FFA3-3B78-BE1D1EBBE303}"/>
                </a:ext>
              </a:extLst>
            </p:cNvPr>
            <p:cNvSpPr/>
            <p:nvPr/>
          </p:nvSpPr>
          <p:spPr>
            <a:xfrm>
              <a:off x="5683964" y="3362928"/>
              <a:ext cx="71377" cy="45719"/>
            </a:xfrm>
            <a:custGeom>
              <a:avLst/>
              <a:gdLst>
                <a:gd name="csX0" fmla="*/ 847 w 92314"/>
                <a:gd name="csY0" fmla="*/ 75320 h 129846"/>
                <a:gd name="csX1" fmla="*/ 43237 w 92314"/>
                <a:gd name="csY1" fmla="*/ 8708 h 129846"/>
                <a:gd name="csX2" fmla="*/ 91682 w 92314"/>
                <a:gd name="csY2" fmla="*/ 8708 h 129846"/>
                <a:gd name="csX3" fmla="*/ 67459 w 92314"/>
                <a:gd name="csY3" fmla="*/ 81376 h 129846"/>
                <a:gd name="csX4" fmla="*/ 19014 w 92314"/>
                <a:gd name="csY4" fmla="*/ 129821 h 129846"/>
                <a:gd name="csX5" fmla="*/ 847 w 92314"/>
                <a:gd name="csY5" fmla="*/ 75320 h 129846"/>
              </a:gdLst>
              <a:ahLst/>
              <a:cxnLst>
                <a:cxn ang="0">
                  <a:pos x="csX0" y="csY0"/>
                </a:cxn>
                <a:cxn ang="0">
                  <a:pos x="csX1" y="csY1"/>
                </a:cxn>
                <a:cxn ang="0">
                  <a:pos x="csX2" y="csY2"/>
                </a:cxn>
                <a:cxn ang="0">
                  <a:pos x="csX3" y="csY3"/>
                </a:cxn>
                <a:cxn ang="0">
                  <a:pos x="csX4" y="csY4"/>
                </a:cxn>
                <a:cxn ang="0">
                  <a:pos x="csX5" y="csY5"/>
                </a:cxn>
              </a:cxnLst>
              <a:rect l="l" t="t" r="r" b="b"/>
              <a:pathLst>
                <a:path w="92314" h="129846">
                  <a:moveTo>
                    <a:pt x="847" y="75320"/>
                  </a:moveTo>
                  <a:cubicBezTo>
                    <a:pt x="4884" y="55134"/>
                    <a:pt x="28098" y="19810"/>
                    <a:pt x="43237" y="8708"/>
                  </a:cubicBezTo>
                  <a:cubicBezTo>
                    <a:pt x="58376" y="-2394"/>
                    <a:pt x="87645" y="-3403"/>
                    <a:pt x="91682" y="8708"/>
                  </a:cubicBezTo>
                  <a:cubicBezTo>
                    <a:pt x="95719" y="20819"/>
                    <a:pt x="79570" y="61191"/>
                    <a:pt x="67459" y="81376"/>
                  </a:cubicBezTo>
                  <a:cubicBezTo>
                    <a:pt x="55348" y="101561"/>
                    <a:pt x="30116" y="130830"/>
                    <a:pt x="19014" y="129821"/>
                  </a:cubicBezTo>
                  <a:cubicBezTo>
                    <a:pt x="7912" y="128812"/>
                    <a:pt x="-3190" y="95506"/>
                    <a:pt x="847" y="75320"/>
                  </a:cubicBezTo>
                  <a:close/>
                </a:path>
              </a:pathLst>
            </a:cu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tlCol="0" anchor="ctr"/>
            <a:lstStyle/>
            <a:p>
              <a:pPr algn="l"/>
              <a:endParaRPr lang="de-DE" sz="1100" noProof="0">
                <a:solidFill>
                  <a:schemeClr val="tx1"/>
                </a:solidFill>
              </a:endParaRPr>
            </a:p>
          </p:txBody>
        </p:sp>
      </p:grpSp>
      <p:sp>
        <p:nvSpPr>
          <p:cNvPr id="38" name="Freihandform 37">
            <a:extLst>
              <a:ext uri="{FF2B5EF4-FFF2-40B4-BE49-F238E27FC236}">
                <a16:creationId xmlns:a16="http://schemas.microsoft.com/office/drawing/2014/main" id="{0DC89B89-0278-ABF7-740E-A5BDA753B15C}"/>
              </a:ext>
            </a:extLst>
          </p:cNvPr>
          <p:cNvSpPr/>
          <p:nvPr/>
        </p:nvSpPr>
        <p:spPr>
          <a:xfrm>
            <a:off x="4631165" y="3208977"/>
            <a:ext cx="273070" cy="59262"/>
          </a:xfrm>
          <a:custGeom>
            <a:avLst/>
            <a:gdLst>
              <a:gd name="csX0" fmla="*/ 0 w 352425"/>
              <a:gd name="csY0" fmla="*/ 73025 h 73205"/>
              <a:gd name="csX1" fmla="*/ 120650 w 352425"/>
              <a:gd name="csY1" fmla="*/ 22225 h 73205"/>
              <a:gd name="csX2" fmla="*/ 241300 w 352425"/>
              <a:gd name="csY2" fmla="*/ 73025 h 73205"/>
              <a:gd name="csX3" fmla="*/ 352425 w 352425"/>
              <a:gd name="csY3" fmla="*/ 0 h 73205"/>
            </a:gdLst>
            <a:ahLst/>
            <a:cxnLst>
              <a:cxn ang="0">
                <a:pos x="csX0" y="csY0"/>
              </a:cxn>
              <a:cxn ang="0">
                <a:pos x="csX1" y="csY1"/>
              </a:cxn>
              <a:cxn ang="0">
                <a:pos x="csX2" y="csY2"/>
              </a:cxn>
              <a:cxn ang="0">
                <a:pos x="csX3" y="csY3"/>
              </a:cxn>
            </a:cxnLst>
            <a:rect l="l" t="t" r="r" b="b"/>
            <a:pathLst>
              <a:path w="352425" h="73205">
                <a:moveTo>
                  <a:pt x="0" y="73025"/>
                </a:moveTo>
                <a:cubicBezTo>
                  <a:pt x="40216" y="47625"/>
                  <a:pt x="80433" y="22225"/>
                  <a:pt x="120650" y="22225"/>
                </a:cubicBezTo>
                <a:cubicBezTo>
                  <a:pt x="160867" y="22225"/>
                  <a:pt x="202671" y="76729"/>
                  <a:pt x="241300" y="73025"/>
                </a:cubicBezTo>
                <a:cubicBezTo>
                  <a:pt x="279929" y="69321"/>
                  <a:pt x="322792" y="12700"/>
                  <a:pt x="352425" y="0"/>
                </a:cubicBezTo>
              </a:path>
            </a:pathLst>
          </a:custGeom>
          <a:noFill/>
          <a:ln w="22225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9E9C644A-9D0E-08D9-3AC6-467D34B9839E}"/>
              </a:ext>
            </a:extLst>
          </p:cNvPr>
          <p:cNvSpPr/>
          <p:nvPr/>
        </p:nvSpPr>
        <p:spPr>
          <a:xfrm>
            <a:off x="928781" y="2938447"/>
            <a:ext cx="2358521" cy="253506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D8C2F149-408C-16BE-2BDB-B04CBFD8E171}"/>
              </a:ext>
            </a:extLst>
          </p:cNvPr>
          <p:cNvSpPr/>
          <p:nvPr/>
        </p:nvSpPr>
        <p:spPr>
          <a:xfrm>
            <a:off x="928780" y="3148141"/>
            <a:ext cx="2973749" cy="253506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A5CE995-1140-1DD7-5358-F9814ACB9A09}"/>
              </a:ext>
            </a:extLst>
          </p:cNvPr>
          <p:cNvSpPr/>
          <p:nvPr/>
        </p:nvSpPr>
        <p:spPr>
          <a:xfrm>
            <a:off x="928780" y="3528522"/>
            <a:ext cx="2973749" cy="253506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EF5D3501-2B23-9B9C-2E01-173CD4EA5F1B}"/>
              </a:ext>
            </a:extLst>
          </p:cNvPr>
          <p:cNvSpPr/>
          <p:nvPr/>
        </p:nvSpPr>
        <p:spPr>
          <a:xfrm>
            <a:off x="928781" y="3732629"/>
            <a:ext cx="1562778" cy="253506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10" name="Text 5">
            <a:extLst>
              <a:ext uri="{FF2B5EF4-FFF2-40B4-BE49-F238E27FC236}">
                <a16:creationId xmlns:a16="http://schemas.microsoft.com/office/drawing/2014/main" id="{8AC7F9E3-758E-D7AA-E78D-35288E5EAEDE}"/>
              </a:ext>
            </a:extLst>
          </p:cNvPr>
          <p:cNvSpPr/>
          <p:nvPr/>
        </p:nvSpPr>
        <p:spPr>
          <a:xfrm>
            <a:off x="846494" y="2901142"/>
            <a:ext cx="3218174" cy="576167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>
              <a:spcAft>
                <a:spcPts val="1200"/>
              </a:spcAft>
              <a:buNone/>
            </a:pPr>
            <a:r>
              <a:rPr lang="de-DE" sz="1400" noProof="0">
                <a:ea typeface="Inter" pitchFamily="34" charset="-122"/>
                <a:cs typeface="Inter" pitchFamily="34" charset="-120"/>
              </a:rPr>
              <a:t>Frustration — Tools werden aufgezwungen, keiner weiß warum</a:t>
            </a:r>
          </a:p>
          <a:p>
            <a:pPr>
              <a:spcAft>
                <a:spcPts val="1200"/>
              </a:spcAft>
            </a:pPr>
            <a:r>
              <a:rPr lang="de-DE" sz="1400" noProof="0">
                <a:ea typeface="Inter" pitchFamily="34" charset="-122"/>
                <a:cs typeface="Inter" pitchFamily="34" charset="-120"/>
              </a:rPr>
              <a:t>Nutzung stagniert — ohne Schulung bleibt Copilot aus</a:t>
            </a:r>
            <a:endParaRPr lang="de-DE" sz="1400" noProof="0"/>
          </a:p>
          <a:p>
            <a:pPr marL="0" indent="0">
              <a:spcAft>
                <a:spcPts val="1200"/>
              </a:spcAft>
              <a:buNone/>
            </a:pPr>
            <a:endParaRPr lang="de-DE" sz="1400" noProof="0"/>
          </a:p>
        </p:txBody>
      </p:sp>
    </p:spTree>
    <p:extLst>
      <p:ext uri="{BB962C8B-B14F-4D97-AF65-F5344CB8AC3E}">
        <p14:creationId xmlns:p14="http://schemas.microsoft.com/office/powerpoint/2010/main" val="22928103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3EA4E-46FF-6E6E-20E6-29781BC614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29C9AFD3-0143-933D-559C-F54D8D860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17" y="695659"/>
            <a:ext cx="5274177" cy="4514016"/>
          </a:xfrm>
        </p:spPr>
        <p:txBody>
          <a:bodyPr anchor="ctr">
            <a:normAutofit/>
          </a:bodyPr>
          <a:lstStyle/>
          <a:p>
            <a:r>
              <a:rPr lang="de-DE" noProof="0" err="1"/>
              <a:t>Spec</a:t>
            </a:r>
            <a:r>
              <a:rPr lang="de-DE" noProof="0"/>
              <a:t>-Driven Developmen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6B85B68-D82F-8013-6ABF-8E17C4C72A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1479" y="203199"/>
            <a:ext cx="5291452" cy="345510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de-DE" noProof="0"/>
              <a:t>03</a:t>
            </a:r>
          </a:p>
        </p:txBody>
      </p:sp>
      <p:sp>
        <p:nvSpPr>
          <p:cNvPr id="2" name="Textplatzhalter 11">
            <a:extLst>
              <a:ext uri="{FF2B5EF4-FFF2-40B4-BE49-F238E27FC236}">
                <a16:creationId xmlns:a16="http://schemas.microsoft.com/office/drawing/2014/main" id="{0D2077C2-5CCC-ABBE-4E56-6F754BCC27FA}"/>
              </a:ext>
            </a:extLst>
          </p:cNvPr>
          <p:cNvSpPr txBox="1">
            <a:spLocks/>
          </p:cNvSpPr>
          <p:nvPr/>
        </p:nvSpPr>
        <p:spPr>
          <a:xfrm>
            <a:off x="401584" y="4034130"/>
            <a:ext cx="5292830" cy="345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130000"/>
              </a:lnSpc>
              <a:spcBef>
                <a:spcPts val="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400" indent="-18000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800" indent="-18000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1600" indent="-18000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noProof="0">
                <a:ea typeface="Inter" pitchFamily="34" charset="-122"/>
                <a:cs typeface="Inter" pitchFamily="34" charset="-120"/>
              </a:rPr>
              <a:t>Präzision als Erfolgsfaktor</a:t>
            </a:r>
            <a:endParaRPr lang="de-DE" noProof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D253D97-6E58-18D7-0FAC-BEA4B5F89BB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879" b="16457"/>
          <a:stretch>
            <a:fillRect/>
          </a:stretch>
        </p:blipFill>
        <p:spPr>
          <a:xfrm>
            <a:off x="6106938" y="0"/>
            <a:ext cx="6094413" cy="6858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FBC5D55A-30DD-AEF5-E9F0-8B589F2BE2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32446" y="358830"/>
            <a:ext cx="1638300" cy="384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413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F0CC0-F59D-AB7C-62D3-CDC41792EB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78B062C9-A43B-6BD0-32A2-34AB64774C94}"/>
              </a:ext>
            </a:extLst>
          </p:cNvPr>
          <p:cNvSpPr/>
          <p:nvPr/>
        </p:nvSpPr>
        <p:spPr>
          <a:xfrm>
            <a:off x="-1" y="1696453"/>
            <a:ext cx="12188825" cy="25444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821141-C7A5-0D30-5251-276477F939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noProof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9B943852-E9B8-ABCD-3A41-EA5E13AB0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err="1"/>
              <a:t>Spec</a:t>
            </a:r>
            <a:r>
              <a:rPr lang="de-DE" noProof="0"/>
              <a:t>-Driven – Der Unterschied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B8ADEC-7A22-0C08-DF81-50D754AC17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>
                <a:latin typeface="Sen ExtraBold"/>
              </a:rPr>
              <a:t>Exxeta x OTTO | trade/off Summit | Heidelberg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3BCC5F7-AA05-6628-CD31-E493C11F7F3B}"/>
              </a:ext>
            </a:extLst>
          </p:cNvPr>
          <p:cNvSpPr txBox="1"/>
          <p:nvPr/>
        </p:nvSpPr>
        <p:spPr>
          <a:xfrm>
            <a:off x="9688023" y="1529901"/>
            <a:ext cx="2916455" cy="12311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tabLst>
                <a:tab pos="1108075" algn="l"/>
              </a:tabLst>
            </a:pPr>
            <a:r>
              <a:rPr lang="de-DE" sz="800" noProof="0"/>
              <a:t>Erzeugter Code	Verbrauchte Tokens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73C5D90-FD3A-00F0-AA30-5377C0A0374C}"/>
              </a:ext>
            </a:extLst>
          </p:cNvPr>
          <p:cNvSpPr/>
          <p:nvPr/>
        </p:nvSpPr>
        <p:spPr>
          <a:xfrm>
            <a:off x="9464163" y="1531305"/>
            <a:ext cx="105878" cy="105878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F63FFC1-C3D1-72D7-7404-2166C5F51D06}"/>
              </a:ext>
            </a:extLst>
          </p:cNvPr>
          <p:cNvSpPr/>
          <p:nvPr/>
        </p:nvSpPr>
        <p:spPr>
          <a:xfrm>
            <a:off x="10627944" y="1531305"/>
            <a:ext cx="105878" cy="105878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ADFD2A4D-B9A1-5D79-BD5F-BA9516F2F085}"/>
              </a:ext>
            </a:extLst>
          </p:cNvPr>
          <p:cNvCxnSpPr/>
          <p:nvPr/>
        </p:nvCxnSpPr>
        <p:spPr>
          <a:xfrm>
            <a:off x="9423020" y="1584244"/>
            <a:ext cx="183369" cy="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8479A18B-9A6D-B4B3-5326-D8DE01756959}"/>
              </a:ext>
            </a:extLst>
          </p:cNvPr>
          <p:cNvCxnSpPr/>
          <p:nvPr/>
        </p:nvCxnSpPr>
        <p:spPr>
          <a:xfrm>
            <a:off x="10586802" y="1584244"/>
            <a:ext cx="183369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Chart 0">
            <a:extLst>
              <a:ext uri="{FF2B5EF4-FFF2-40B4-BE49-F238E27FC236}">
                <a16:creationId xmlns:a16="http://schemas.microsoft.com/office/drawing/2014/main" id="{459014CF-8C37-4403-A573-02F550013D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1050209"/>
              </p:ext>
            </p:extLst>
          </p:nvPr>
        </p:nvGraphicFramePr>
        <p:xfrm>
          <a:off x="457200" y="1708611"/>
          <a:ext cx="11274552" cy="2560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434F2A40-38DA-D861-E161-795514EDF1D9}"/>
              </a:ext>
            </a:extLst>
          </p:cNvPr>
          <p:cNvSpPr txBox="1">
            <a:spLocks/>
          </p:cNvSpPr>
          <p:nvPr/>
        </p:nvSpPr>
        <p:spPr>
          <a:xfrm>
            <a:off x="1384664" y="4730217"/>
            <a:ext cx="3110450" cy="9233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 cap="none" baseline="0">
                <a:solidFill>
                  <a:schemeClr val="tx1"/>
                </a:solidFill>
                <a:latin typeface="Bandeins Strang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de-DE" sz="2000" noProof="0"/>
              <a:t>Vibe Coding</a:t>
            </a: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E3F6BAB5-8151-E53B-EF47-1F8CC7A9B67D}"/>
              </a:ext>
            </a:extLst>
          </p:cNvPr>
          <p:cNvSpPr txBox="1">
            <a:spLocks/>
          </p:cNvSpPr>
          <p:nvPr/>
        </p:nvSpPr>
        <p:spPr>
          <a:xfrm>
            <a:off x="4506686" y="4730217"/>
            <a:ext cx="3150916" cy="9233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 cap="none" baseline="0">
                <a:solidFill>
                  <a:schemeClr val="tx1"/>
                </a:solidFill>
                <a:latin typeface="Bandeins Strang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de-DE" sz="2000" noProof="0"/>
              <a:t>Skills/</a:t>
            </a:r>
            <a:r>
              <a:rPr lang="de-DE" sz="2000" noProof="0" err="1"/>
              <a:t>AGENTS.md</a:t>
            </a:r>
            <a:endParaRPr lang="de-DE" sz="2000" noProof="0"/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7363BE22-CF80-2E65-12BC-273DD47F3378}"/>
              </a:ext>
            </a:extLst>
          </p:cNvPr>
          <p:cNvSpPr txBox="1">
            <a:spLocks/>
          </p:cNvSpPr>
          <p:nvPr/>
        </p:nvSpPr>
        <p:spPr>
          <a:xfrm>
            <a:off x="7657603" y="4732631"/>
            <a:ext cx="3162492" cy="9233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 cap="none" baseline="0">
                <a:solidFill>
                  <a:schemeClr val="tx1"/>
                </a:solidFill>
                <a:latin typeface="Bandeins Strang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de-DE" sz="2000" noProof="0" err="1"/>
              <a:t>Spec</a:t>
            </a:r>
            <a:r>
              <a:rPr lang="de-DE" sz="2000" noProof="0"/>
              <a:t>-Driven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810D701E-ABF5-2D25-0D2E-8FB682418E03}"/>
              </a:ext>
            </a:extLst>
          </p:cNvPr>
          <p:cNvCxnSpPr/>
          <p:nvPr/>
        </p:nvCxnSpPr>
        <p:spPr>
          <a:xfrm>
            <a:off x="-25401" y="4240937"/>
            <a:ext cx="1237297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B15D874-4C2F-DF04-4BBC-5D11B652CAEA}"/>
              </a:ext>
            </a:extLst>
          </p:cNvPr>
          <p:cNvGrpSpPr/>
          <p:nvPr/>
        </p:nvGrpSpPr>
        <p:grpSpPr>
          <a:xfrm>
            <a:off x="1384663" y="4240937"/>
            <a:ext cx="9409411" cy="2229681"/>
            <a:chOff x="1384663" y="3037693"/>
            <a:chExt cx="9409411" cy="3432925"/>
          </a:xfrm>
        </p:grpSpPr>
        <p:cxnSp>
          <p:nvCxnSpPr>
            <p:cNvPr id="7" name="Gerade Verbindung 6">
              <a:extLst>
                <a:ext uri="{FF2B5EF4-FFF2-40B4-BE49-F238E27FC236}">
                  <a16:creationId xmlns:a16="http://schemas.microsoft.com/office/drawing/2014/main" id="{A0244F2C-D05F-3C04-662B-0A410BA6F5B6}"/>
                </a:ext>
              </a:extLst>
            </p:cNvPr>
            <p:cNvCxnSpPr>
              <a:cxnSpLocks/>
            </p:cNvCxnSpPr>
            <p:nvPr/>
          </p:nvCxnSpPr>
          <p:spPr>
            <a:xfrm>
              <a:off x="4521133" y="3037693"/>
              <a:ext cx="0" cy="3425825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>
              <a:extLst>
                <a:ext uri="{FF2B5EF4-FFF2-40B4-BE49-F238E27FC236}">
                  <a16:creationId xmlns:a16="http://schemas.microsoft.com/office/drawing/2014/main" id="{94DB12ED-DC6D-0792-4090-14D7FBB247C7}"/>
                </a:ext>
              </a:extLst>
            </p:cNvPr>
            <p:cNvCxnSpPr>
              <a:cxnSpLocks/>
            </p:cNvCxnSpPr>
            <p:nvPr/>
          </p:nvCxnSpPr>
          <p:spPr>
            <a:xfrm>
              <a:off x="7657603" y="3037693"/>
              <a:ext cx="0" cy="3425825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1">
              <a:extLst>
                <a:ext uri="{FF2B5EF4-FFF2-40B4-BE49-F238E27FC236}">
                  <a16:creationId xmlns:a16="http://schemas.microsoft.com/office/drawing/2014/main" id="{3C195BCC-8018-8FBC-C9C2-76B7F81B7AC7}"/>
                </a:ext>
              </a:extLst>
            </p:cNvPr>
            <p:cNvCxnSpPr>
              <a:cxnSpLocks/>
            </p:cNvCxnSpPr>
            <p:nvPr/>
          </p:nvCxnSpPr>
          <p:spPr>
            <a:xfrm>
              <a:off x="1384663" y="3037693"/>
              <a:ext cx="0" cy="3425825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1">
              <a:extLst>
                <a:ext uri="{FF2B5EF4-FFF2-40B4-BE49-F238E27FC236}">
                  <a16:creationId xmlns:a16="http://schemas.microsoft.com/office/drawing/2014/main" id="{FD70E5BD-B1ED-3BAB-7631-BBB1B5F3BA1E}"/>
                </a:ext>
              </a:extLst>
            </p:cNvPr>
            <p:cNvCxnSpPr>
              <a:cxnSpLocks/>
            </p:cNvCxnSpPr>
            <p:nvPr/>
          </p:nvCxnSpPr>
          <p:spPr>
            <a:xfrm>
              <a:off x="10794074" y="3044793"/>
              <a:ext cx="0" cy="3425825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 5">
            <a:extLst>
              <a:ext uri="{FF2B5EF4-FFF2-40B4-BE49-F238E27FC236}">
                <a16:creationId xmlns:a16="http://schemas.microsoft.com/office/drawing/2014/main" id="{1D50C279-E4E2-B631-2EF8-8659A8422FCD}"/>
              </a:ext>
            </a:extLst>
          </p:cNvPr>
          <p:cNvSpPr/>
          <p:nvPr/>
        </p:nvSpPr>
        <p:spPr>
          <a:xfrm>
            <a:off x="1384663" y="5143725"/>
            <a:ext cx="3122021" cy="457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de-DE" sz="1200" b="1" noProof="0">
                <a:ea typeface="Inter" pitchFamily="34" charset="-122"/>
                <a:cs typeface="Inter" pitchFamily="34" charset="-120"/>
              </a:rPr>
              <a:t>Input → Ergebnis → Loop</a:t>
            </a:r>
            <a:endParaRPr lang="de-DE" sz="1200" noProof="0"/>
          </a:p>
        </p:txBody>
      </p:sp>
      <p:sp>
        <p:nvSpPr>
          <p:cNvPr id="25" name="Text 6">
            <a:extLst>
              <a:ext uri="{FF2B5EF4-FFF2-40B4-BE49-F238E27FC236}">
                <a16:creationId xmlns:a16="http://schemas.microsoft.com/office/drawing/2014/main" id="{45C0FDEF-5FB2-B32A-1FA4-4F420EB9AF3D}"/>
              </a:ext>
            </a:extLst>
          </p:cNvPr>
          <p:cNvSpPr/>
          <p:nvPr/>
        </p:nvSpPr>
        <p:spPr>
          <a:xfrm>
            <a:off x="1384663" y="5646645"/>
            <a:ext cx="3122021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de-DE" sz="1100" noProof="0">
                <a:ea typeface="Inter" pitchFamily="34" charset="-122"/>
                <a:cs typeface="Inter" pitchFamily="34" charset="-120"/>
              </a:rPr>
              <a:t>Trial-and-Error, Kontext-Chaos</a:t>
            </a:r>
            <a:endParaRPr lang="de-DE" sz="1100" noProof="0"/>
          </a:p>
        </p:txBody>
      </p:sp>
      <p:sp>
        <p:nvSpPr>
          <p:cNvPr id="26" name="Text 10">
            <a:extLst>
              <a:ext uri="{FF2B5EF4-FFF2-40B4-BE49-F238E27FC236}">
                <a16:creationId xmlns:a16="http://schemas.microsoft.com/office/drawing/2014/main" id="{6C50DF8C-E737-B453-5AF9-005FF9EA300E}"/>
              </a:ext>
            </a:extLst>
          </p:cNvPr>
          <p:cNvSpPr/>
          <p:nvPr/>
        </p:nvSpPr>
        <p:spPr>
          <a:xfrm>
            <a:off x="4531222" y="5143725"/>
            <a:ext cx="3111931" cy="457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de-DE" sz="1200" b="1" noProof="0">
                <a:ea typeface="Inter" pitchFamily="34" charset="-122"/>
                <a:cs typeface="Inter" pitchFamily="34" charset="-120"/>
              </a:rPr>
              <a:t>Input → Rules → Ergebnis → Loop</a:t>
            </a:r>
            <a:endParaRPr lang="de-DE" sz="1200" noProof="0"/>
          </a:p>
        </p:txBody>
      </p:sp>
      <p:sp>
        <p:nvSpPr>
          <p:cNvPr id="27" name="Text 11">
            <a:extLst>
              <a:ext uri="{FF2B5EF4-FFF2-40B4-BE49-F238E27FC236}">
                <a16:creationId xmlns:a16="http://schemas.microsoft.com/office/drawing/2014/main" id="{0A657828-DC0D-C133-3F1D-AF8B1A30464E}"/>
              </a:ext>
            </a:extLst>
          </p:cNvPr>
          <p:cNvSpPr/>
          <p:nvPr/>
        </p:nvSpPr>
        <p:spPr>
          <a:xfrm>
            <a:off x="4531222" y="5646645"/>
            <a:ext cx="3111931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de-DE" sz="1100" noProof="0">
                <a:ea typeface="Inter" pitchFamily="34" charset="-122"/>
                <a:cs typeface="Inter" pitchFamily="34" charset="-120"/>
              </a:rPr>
              <a:t>Besser, aber kein klares Ziel</a:t>
            </a:r>
            <a:endParaRPr lang="de-DE" sz="1100" noProof="0"/>
          </a:p>
        </p:txBody>
      </p:sp>
      <p:sp>
        <p:nvSpPr>
          <p:cNvPr id="28" name="Text 15">
            <a:extLst>
              <a:ext uri="{FF2B5EF4-FFF2-40B4-BE49-F238E27FC236}">
                <a16:creationId xmlns:a16="http://schemas.microsoft.com/office/drawing/2014/main" id="{459885D5-823E-1EDE-589C-EF3916E92189}"/>
              </a:ext>
            </a:extLst>
          </p:cNvPr>
          <p:cNvSpPr/>
          <p:nvPr/>
        </p:nvSpPr>
        <p:spPr>
          <a:xfrm>
            <a:off x="7643153" y="5143725"/>
            <a:ext cx="3136470" cy="457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de-DE" sz="1200" b="1" noProof="0" err="1">
                <a:ea typeface="Inter" pitchFamily="34" charset="-122"/>
                <a:cs typeface="Inter" pitchFamily="34" charset="-120"/>
              </a:rPr>
              <a:t>Spec</a:t>
            </a:r>
            <a:r>
              <a:rPr lang="de-DE" sz="1200" b="1" noProof="0">
                <a:ea typeface="Inter" pitchFamily="34" charset="-122"/>
                <a:cs typeface="Inter" pitchFamily="34" charset="-120"/>
              </a:rPr>
              <a:t> → Design → Tasks → Implement</a:t>
            </a:r>
            <a:endParaRPr lang="de-DE" sz="1200" noProof="0"/>
          </a:p>
        </p:txBody>
      </p:sp>
      <p:sp>
        <p:nvSpPr>
          <p:cNvPr id="29" name="Text 16">
            <a:extLst>
              <a:ext uri="{FF2B5EF4-FFF2-40B4-BE49-F238E27FC236}">
                <a16:creationId xmlns:a16="http://schemas.microsoft.com/office/drawing/2014/main" id="{BCDFBF4F-9545-E286-D9DA-FD0BCEE72704}"/>
              </a:ext>
            </a:extLst>
          </p:cNvPr>
          <p:cNvSpPr/>
          <p:nvPr/>
        </p:nvSpPr>
        <p:spPr>
          <a:xfrm>
            <a:off x="7643153" y="5646645"/>
            <a:ext cx="313647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de-DE" sz="1100" noProof="0">
                <a:ea typeface="Inter" pitchFamily="34" charset="-122"/>
                <a:cs typeface="Inter" pitchFamily="34" charset="-120"/>
              </a:rPr>
              <a:t>Präzision vor Trial-and-Error</a:t>
            </a:r>
            <a:endParaRPr lang="de-DE" sz="1100" noProof="0"/>
          </a:p>
        </p:txBody>
      </p:sp>
    </p:spTree>
    <p:extLst>
      <p:ext uri="{BB962C8B-B14F-4D97-AF65-F5344CB8AC3E}">
        <p14:creationId xmlns:p14="http://schemas.microsoft.com/office/powerpoint/2010/main" val="1805831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D6B94577-95FE-F46D-B7D3-57A7CCC89366}"/>
              </a:ext>
            </a:extLst>
          </p:cNvPr>
          <p:cNvSpPr/>
          <p:nvPr/>
        </p:nvSpPr>
        <p:spPr>
          <a:xfrm>
            <a:off x="-1" y="1287624"/>
            <a:ext cx="12188825" cy="515569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defTabSz="914126">
              <a:defRPr/>
            </a:pPr>
            <a:endParaRPr lang="de-DE" sz="1100" noProof="0">
              <a:solidFill>
                <a:prstClr val="black"/>
              </a:solidFill>
              <a:latin typeface="Sen ExtraBold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66956CA-EF3B-2BCF-473C-0C2786E8B7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CD88FD7-27B4-F3C7-3644-D7EF140A1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SDD Landscape 2026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7C6ABF-47ED-F69A-770B-D70931A8E6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 noProof="0">
                <a:latin typeface="Sen ExtraBold"/>
              </a:rPr>
              <a:t>Exxeta x OTTO | trade/off Summit | Heidelberg</a:t>
            </a:r>
          </a:p>
        </p:txBody>
      </p:sp>
      <p:sp>
        <p:nvSpPr>
          <p:cNvPr id="6" name="Text 2">
            <a:extLst>
              <a:ext uri="{FF2B5EF4-FFF2-40B4-BE49-F238E27FC236}">
                <a16:creationId xmlns:a16="http://schemas.microsoft.com/office/drawing/2014/main" id="{33609E36-094E-B7A7-2101-3E303913A0A1}"/>
              </a:ext>
            </a:extLst>
          </p:cNvPr>
          <p:cNvSpPr/>
          <p:nvPr/>
        </p:nvSpPr>
        <p:spPr>
          <a:xfrm>
            <a:off x="5340839" y="6111724"/>
            <a:ext cx="1623527" cy="267292"/>
          </a:xfrm>
          <a:prstGeom prst="rect">
            <a:avLst/>
          </a:prstGeom>
          <a:solidFill>
            <a:schemeClr val="bg1"/>
          </a:solidFill>
          <a:ln/>
        </p:spPr>
        <p:txBody>
          <a:bodyPr wrap="square" rtlCol="0" anchor="ctr"/>
          <a:lstStyle/>
          <a:p>
            <a:pPr marL="0" indent="0" algn="ctr">
              <a:buNone/>
            </a:pPr>
            <a:r>
              <a:rPr lang="de-DE" sz="1000" noProof="0">
                <a:ea typeface="Inter" pitchFamily="34" charset="-122"/>
                <a:cs typeface="Inter" pitchFamily="34" charset="-120"/>
              </a:rPr>
              <a:t>Vendor Independence</a:t>
            </a:r>
            <a:endParaRPr lang="de-DE" sz="1000" noProof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847E7AE-418A-A136-A734-4B0435B0159A}"/>
              </a:ext>
            </a:extLst>
          </p:cNvPr>
          <p:cNvGrpSpPr/>
          <p:nvPr/>
        </p:nvGrpSpPr>
        <p:grpSpPr>
          <a:xfrm>
            <a:off x="1339532" y="1604865"/>
            <a:ext cx="9633268" cy="4445396"/>
            <a:chOff x="1339532" y="1188720"/>
            <a:chExt cx="9633268" cy="4861541"/>
          </a:xfrm>
        </p:grpSpPr>
        <p:sp>
          <p:nvSpPr>
            <p:cNvPr id="7" name="Shape 4">
              <a:extLst>
                <a:ext uri="{FF2B5EF4-FFF2-40B4-BE49-F238E27FC236}">
                  <a16:creationId xmlns:a16="http://schemas.microsoft.com/office/drawing/2014/main" id="{8B69FBC1-0B30-E67E-4943-C5F7FFB13649}"/>
                </a:ext>
              </a:extLst>
            </p:cNvPr>
            <p:cNvSpPr/>
            <p:nvPr/>
          </p:nvSpPr>
          <p:spPr>
            <a:xfrm>
              <a:off x="6217920" y="1188720"/>
              <a:ext cx="4754880" cy="2377440"/>
            </a:xfrm>
            <a:prstGeom prst="roundRect">
              <a:avLst>
                <a:gd name="adj" fmla="val 2308"/>
              </a:avLst>
            </a:prstGeom>
            <a:solidFill>
              <a:schemeClr val="tx1"/>
            </a:solidFill>
            <a:ln/>
          </p:spPr>
          <p:txBody>
            <a:bodyPr/>
            <a:lstStyle/>
            <a:p>
              <a:endParaRPr lang="de-DE" noProof="0">
                <a:solidFill>
                  <a:schemeClr val="bg1"/>
                </a:solidFill>
              </a:endParaRPr>
            </a:p>
          </p:txBody>
        </p:sp>
        <p:sp>
          <p:nvSpPr>
            <p:cNvPr id="9" name="Text 6">
              <a:extLst>
                <a:ext uri="{FF2B5EF4-FFF2-40B4-BE49-F238E27FC236}">
                  <a16:creationId xmlns:a16="http://schemas.microsoft.com/office/drawing/2014/main" id="{38AD348D-CEDE-57E3-5AF1-95E40CE42C3B}"/>
                </a:ext>
              </a:extLst>
            </p:cNvPr>
            <p:cNvSpPr/>
            <p:nvPr/>
          </p:nvSpPr>
          <p:spPr>
            <a:xfrm>
              <a:off x="6400800" y="1417320"/>
              <a:ext cx="4389120" cy="274320"/>
            </a:xfrm>
            <a:prstGeom prst="rect">
              <a:avLst/>
            </a:prstGeom>
            <a:noFill/>
            <a:ln/>
          </p:spPr>
          <p:txBody>
            <a:bodyPr wrap="square" rtlCol="0" anchor="ctr"/>
            <a:lstStyle/>
            <a:p>
              <a:pPr marL="0" indent="0">
                <a:buNone/>
              </a:pPr>
              <a:r>
                <a:rPr lang="de-DE" sz="900" b="1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LEADER</a:t>
              </a:r>
              <a:endParaRPr lang="de-DE" sz="900" noProof="0">
                <a:solidFill>
                  <a:schemeClr val="bg1"/>
                </a:solidFill>
              </a:endParaRPr>
            </a:p>
          </p:txBody>
        </p:sp>
        <p:sp>
          <p:nvSpPr>
            <p:cNvPr id="10" name="Text 7">
              <a:extLst>
                <a:ext uri="{FF2B5EF4-FFF2-40B4-BE49-F238E27FC236}">
                  <a16:creationId xmlns:a16="http://schemas.microsoft.com/office/drawing/2014/main" id="{84FADCC9-38F6-DB22-86B1-0955F6289712}"/>
                </a:ext>
              </a:extLst>
            </p:cNvPr>
            <p:cNvSpPr/>
            <p:nvPr/>
          </p:nvSpPr>
          <p:spPr>
            <a:xfrm>
              <a:off x="6400800" y="1737360"/>
              <a:ext cx="4389120" cy="411480"/>
            </a:xfrm>
            <a:prstGeom prst="rect">
              <a:avLst/>
            </a:prstGeom>
            <a:noFill/>
            <a:ln/>
          </p:spPr>
          <p:txBody>
            <a:bodyPr wrap="square" rtlCol="0" anchor="ctr"/>
            <a:lstStyle/>
            <a:p>
              <a:pPr marL="0" indent="0">
                <a:buNone/>
              </a:pPr>
              <a:r>
                <a:rPr lang="de-DE" sz="1800" b="1" noProof="0" err="1">
                  <a:solidFill>
                    <a:schemeClr val="accent4"/>
                  </a:solidFill>
                  <a:ea typeface="Inter" pitchFamily="34" charset="-122"/>
                  <a:cs typeface="Inter" pitchFamily="34" charset="-120"/>
                </a:rPr>
                <a:t>OpenSpec</a:t>
              </a:r>
              <a:endParaRPr lang="de-DE" sz="1800" noProof="0">
                <a:solidFill>
                  <a:schemeClr val="accent4"/>
                </a:solidFill>
              </a:endParaRPr>
            </a:p>
          </p:txBody>
        </p:sp>
        <p:sp>
          <p:nvSpPr>
            <p:cNvPr id="11" name="Text 8">
              <a:extLst>
                <a:ext uri="{FF2B5EF4-FFF2-40B4-BE49-F238E27FC236}">
                  <a16:creationId xmlns:a16="http://schemas.microsoft.com/office/drawing/2014/main" id="{F68EEAC3-A40F-4749-2197-133E884FCE88}"/>
                </a:ext>
              </a:extLst>
            </p:cNvPr>
            <p:cNvSpPr/>
            <p:nvPr/>
          </p:nvSpPr>
          <p:spPr>
            <a:xfrm>
              <a:off x="6400800" y="2240280"/>
              <a:ext cx="4389120" cy="1097280"/>
            </a:xfrm>
            <a:prstGeom prst="rect">
              <a:avLst/>
            </a:prstGeom>
            <a:noFill/>
            <a:ln/>
          </p:spPr>
          <p:txBody>
            <a:bodyPr wrap="square" rtlCol="0" anchor="ctr"/>
            <a:lstStyle/>
            <a:p>
              <a:pPr marL="0" indent="0">
                <a:lnSpc>
                  <a:spcPts val="2000"/>
                </a:lnSpc>
                <a:buNone/>
              </a:pPr>
              <a:r>
                <a:rPr lang="de-DE" sz="1200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Agnostisch (GPT-5, Claude 4, </a:t>
              </a:r>
              <a:r>
                <a:rPr lang="de-DE" sz="1200" noProof="0" err="1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Llama</a:t>
              </a:r>
              <a:r>
                <a:rPr lang="de-DE" sz="1200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 4)</a:t>
              </a:r>
              <a:endParaRPr lang="de-DE" sz="1200" noProof="0">
                <a:solidFill>
                  <a:schemeClr val="bg1"/>
                </a:solidFill>
              </a:endParaRPr>
            </a:p>
            <a:p>
              <a:pPr marL="0" indent="0">
                <a:lnSpc>
                  <a:spcPts val="2000"/>
                </a:lnSpc>
                <a:buNone/>
              </a:pPr>
              <a:r>
                <a:rPr lang="de-DE" sz="1200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Unified </a:t>
              </a:r>
              <a:r>
                <a:rPr lang="de-DE" sz="1200" noProof="0" err="1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Document</a:t>
              </a:r>
              <a:r>
                <a:rPr lang="de-DE" sz="1200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, extrem schnell</a:t>
              </a:r>
              <a:endParaRPr lang="de-DE" sz="1200" noProof="0">
                <a:solidFill>
                  <a:schemeClr val="bg1"/>
                </a:solidFill>
              </a:endParaRPr>
            </a:p>
          </p:txBody>
        </p:sp>
        <p:sp>
          <p:nvSpPr>
            <p:cNvPr id="12" name="Shape 9">
              <a:extLst>
                <a:ext uri="{FF2B5EF4-FFF2-40B4-BE49-F238E27FC236}">
                  <a16:creationId xmlns:a16="http://schemas.microsoft.com/office/drawing/2014/main" id="{2F2B8E45-DD66-DB47-DEC7-7E5176B35CB5}"/>
                </a:ext>
              </a:extLst>
            </p:cNvPr>
            <p:cNvSpPr/>
            <p:nvPr/>
          </p:nvSpPr>
          <p:spPr>
            <a:xfrm>
              <a:off x="1339532" y="1188720"/>
              <a:ext cx="4754880" cy="2377440"/>
            </a:xfrm>
            <a:prstGeom prst="roundRect">
              <a:avLst>
                <a:gd name="adj" fmla="val 2308"/>
              </a:avLst>
            </a:prstGeom>
            <a:solidFill>
              <a:schemeClr val="tx1"/>
            </a:solidFill>
            <a:ln/>
          </p:spPr>
          <p:txBody>
            <a:bodyPr/>
            <a:lstStyle/>
            <a:p>
              <a:endParaRPr lang="de-DE" noProof="0">
                <a:solidFill>
                  <a:schemeClr val="bg1"/>
                </a:solidFill>
              </a:endParaRPr>
            </a:p>
          </p:txBody>
        </p:sp>
        <p:sp>
          <p:nvSpPr>
            <p:cNvPr id="14" name="Text 11">
              <a:extLst>
                <a:ext uri="{FF2B5EF4-FFF2-40B4-BE49-F238E27FC236}">
                  <a16:creationId xmlns:a16="http://schemas.microsoft.com/office/drawing/2014/main" id="{96791303-45DA-4B4D-0801-330132DC4BA6}"/>
                </a:ext>
              </a:extLst>
            </p:cNvPr>
            <p:cNvSpPr/>
            <p:nvPr/>
          </p:nvSpPr>
          <p:spPr>
            <a:xfrm>
              <a:off x="1522412" y="1417320"/>
              <a:ext cx="4389120" cy="274320"/>
            </a:xfrm>
            <a:prstGeom prst="rect">
              <a:avLst/>
            </a:prstGeom>
            <a:noFill/>
            <a:ln/>
          </p:spPr>
          <p:txBody>
            <a:bodyPr wrap="square" rtlCol="0" anchor="ctr"/>
            <a:lstStyle/>
            <a:p>
              <a:pPr marL="0" indent="0">
                <a:buNone/>
              </a:pPr>
              <a:r>
                <a:rPr lang="de-DE" sz="900" b="1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VISIONARY</a:t>
              </a:r>
              <a:endParaRPr lang="de-DE" sz="900" noProof="0">
                <a:solidFill>
                  <a:schemeClr val="bg1"/>
                </a:solidFill>
              </a:endParaRPr>
            </a:p>
          </p:txBody>
        </p:sp>
        <p:sp>
          <p:nvSpPr>
            <p:cNvPr id="15" name="Text 12">
              <a:extLst>
                <a:ext uri="{FF2B5EF4-FFF2-40B4-BE49-F238E27FC236}">
                  <a16:creationId xmlns:a16="http://schemas.microsoft.com/office/drawing/2014/main" id="{578F23A1-8B5E-87AA-5F8E-551A03081BD0}"/>
                </a:ext>
              </a:extLst>
            </p:cNvPr>
            <p:cNvSpPr/>
            <p:nvPr/>
          </p:nvSpPr>
          <p:spPr>
            <a:xfrm>
              <a:off x="1522412" y="1737360"/>
              <a:ext cx="4389120" cy="411480"/>
            </a:xfrm>
            <a:prstGeom prst="rect">
              <a:avLst/>
            </a:prstGeom>
            <a:noFill/>
            <a:ln/>
          </p:spPr>
          <p:txBody>
            <a:bodyPr wrap="square" rtlCol="0" anchor="ctr"/>
            <a:lstStyle/>
            <a:p>
              <a:pPr marL="0" indent="0">
                <a:buNone/>
              </a:pPr>
              <a:r>
                <a:rPr lang="de-DE" sz="1800" b="1" noProof="0" err="1">
                  <a:solidFill>
                    <a:schemeClr val="accent4"/>
                  </a:solidFill>
                  <a:ea typeface="Inter" pitchFamily="34" charset="-122"/>
                  <a:cs typeface="Inter" pitchFamily="34" charset="-120"/>
                </a:rPr>
                <a:t>Kiro.dev</a:t>
              </a:r>
              <a:endParaRPr lang="de-DE" sz="1800" noProof="0">
                <a:solidFill>
                  <a:schemeClr val="accent4"/>
                </a:solidFill>
              </a:endParaRPr>
            </a:p>
          </p:txBody>
        </p:sp>
        <p:sp>
          <p:nvSpPr>
            <p:cNvPr id="16" name="Text 13">
              <a:extLst>
                <a:ext uri="{FF2B5EF4-FFF2-40B4-BE49-F238E27FC236}">
                  <a16:creationId xmlns:a16="http://schemas.microsoft.com/office/drawing/2014/main" id="{C7406C62-9635-9A18-6D0B-13B2A440CF54}"/>
                </a:ext>
              </a:extLst>
            </p:cNvPr>
            <p:cNvSpPr/>
            <p:nvPr/>
          </p:nvSpPr>
          <p:spPr>
            <a:xfrm>
              <a:off x="1522412" y="2240280"/>
              <a:ext cx="4389120" cy="1097280"/>
            </a:xfrm>
            <a:prstGeom prst="rect">
              <a:avLst/>
            </a:prstGeom>
            <a:noFill/>
            <a:ln/>
          </p:spPr>
          <p:txBody>
            <a:bodyPr wrap="square" rtlCol="0" anchor="ctr"/>
            <a:lstStyle/>
            <a:p>
              <a:pPr marL="0" indent="0">
                <a:lnSpc>
                  <a:spcPts val="2000"/>
                </a:lnSpc>
                <a:buNone/>
              </a:pPr>
              <a:r>
                <a:rPr lang="de-DE" sz="1200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Enorm schnell, aber AWS-Käfig</a:t>
              </a:r>
              <a:endParaRPr lang="de-DE" sz="1200" noProof="0">
                <a:solidFill>
                  <a:schemeClr val="bg1"/>
                </a:solidFill>
              </a:endParaRPr>
            </a:p>
            <a:p>
              <a:pPr marL="0" indent="0">
                <a:lnSpc>
                  <a:spcPts val="2000"/>
                </a:lnSpc>
                <a:buNone/>
              </a:pPr>
              <a:r>
                <a:rPr lang="de-DE" sz="1200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Vendor Lock-in</a:t>
              </a:r>
              <a:endParaRPr lang="de-DE" sz="1200" noProof="0">
                <a:solidFill>
                  <a:schemeClr val="bg1"/>
                </a:solidFill>
              </a:endParaRPr>
            </a:p>
          </p:txBody>
        </p:sp>
        <p:sp>
          <p:nvSpPr>
            <p:cNvPr id="17" name="Shape 14">
              <a:extLst>
                <a:ext uri="{FF2B5EF4-FFF2-40B4-BE49-F238E27FC236}">
                  <a16:creationId xmlns:a16="http://schemas.microsoft.com/office/drawing/2014/main" id="{65DE33AC-EB36-42D6-D41B-B24DC08464B9}"/>
                </a:ext>
              </a:extLst>
            </p:cNvPr>
            <p:cNvSpPr/>
            <p:nvPr/>
          </p:nvSpPr>
          <p:spPr>
            <a:xfrm>
              <a:off x="6217920" y="3672821"/>
              <a:ext cx="4754880" cy="2377440"/>
            </a:xfrm>
            <a:prstGeom prst="roundRect">
              <a:avLst>
                <a:gd name="adj" fmla="val 2308"/>
              </a:avLst>
            </a:prstGeom>
            <a:solidFill>
              <a:schemeClr val="tx1"/>
            </a:solidFill>
            <a:ln/>
          </p:spPr>
          <p:txBody>
            <a:bodyPr/>
            <a:lstStyle/>
            <a:p>
              <a:endParaRPr lang="de-DE" noProof="0">
                <a:solidFill>
                  <a:schemeClr val="bg1"/>
                </a:solidFill>
              </a:endParaRPr>
            </a:p>
          </p:txBody>
        </p:sp>
        <p:sp>
          <p:nvSpPr>
            <p:cNvPr id="19" name="Text 16">
              <a:extLst>
                <a:ext uri="{FF2B5EF4-FFF2-40B4-BE49-F238E27FC236}">
                  <a16:creationId xmlns:a16="http://schemas.microsoft.com/office/drawing/2014/main" id="{A3DF212B-492C-7748-2006-544E9BC5F079}"/>
                </a:ext>
              </a:extLst>
            </p:cNvPr>
            <p:cNvSpPr/>
            <p:nvPr/>
          </p:nvSpPr>
          <p:spPr>
            <a:xfrm>
              <a:off x="6400800" y="3901421"/>
              <a:ext cx="4389120" cy="274320"/>
            </a:xfrm>
            <a:prstGeom prst="rect">
              <a:avLst/>
            </a:prstGeom>
            <a:noFill/>
            <a:ln/>
          </p:spPr>
          <p:txBody>
            <a:bodyPr wrap="square" rtlCol="0" anchor="ctr"/>
            <a:lstStyle/>
            <a:p>
              <a:pPr marL="0" indent="0">
                <a:buNone/>
              </a:pPr>
              <a:r>
                <a:rPr lang="de-DE" sz="900" b="1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CONTENDER</a:t>
              </a:r>
              <a:endParaRPr lang="de-DE" sz="900" noProof="0">
                <a:solidFill>
                  <a:schemeClr val="bg1"/>
                </a:solidFill>
              </a:endParaRPr>
            </a:p>
          </p:txBody>
        </p:sp>
        <p:sp>
          <p:nvSpPr>
            <p:cNvPr id="20" name="Text 17">
              <a:extLst>
                <a:ext uri="{FF2B5EF4-FFF2-40B4-BE49-F238E27FC236}">
                  <a16:creationId xmlns:a16="http://schemas.microsoft.com/office/drawing/2014/main" id="{34AC2A45-C199-E03A-06B6-5A38B86C9FB2}"/>
                </a:ext>
              </a:extLst>
            </p:cNvPr>
            <p:cNvSpPr/>
            <p:nvPr/>
          </p:nvSpPr>
          <p:spPr>
            <a:xfrm>
              <a:off x="6400800" y="4221461"/>
              <a:ext cx="4389120" cy="411480"/>
            </a:xfrm>
            <a:prstGeom prst="rect">
              <a:avLst/>
            </a:prstGeom>
            <a:noFill/>
            <a:ln/>
          </p:spPr>
          <p:txBody>
            <a:bodyPr wrap="square" rtlCol="0" anchor="ctr"/>
            <a:lstStyle/>
            <a:p>
              <a:pPr marL="0" indent="0">
                <a:buNone/>
              </a:pPr>
              <a:r>
                <a:rPr lang="de-DE" sz="1800" b="1" noProof="0">
                  <a:solidFill>
                    <a:schemeClr val="accent4"/>
                  </a:solidFill>
                  <a:ea typeface="Inter" pitchFamily="34" charset="-122"/>
                  <a:cs typeface="Inter" pitchFamily="34" charset="-120"/>
                </a:rPr>
                <a:t>GitHub </a:t>
              </a:r>
              <a:r>
                <a:rPr lang="de-DE" sz="1800" b="1" noProof="0" err="1">
                  <a:solidFill>
                    <a:schemeClr val="accent4"/>
                  </a:solidFill>
                  <a:ea typeface="Inter" pitchFamily="34" charset="-122"/>
                  <a:cs typeface="Inter" pitchFamily="34" charset="-120"/>
                </a:rPr>
                <a:t>SpecKit</a:t>
              </a:r>
              <a:endParaRPr lang="de-DE" sz="1800" noProof="0">
                <a:solidFill>
                  <a:schemeClr val="accent4"/>
                </a:solidFill>
              </a:endParaRPr>
            </a:p>
          </p:txBody>
        </p:sp>
        <p:sp>
          <p:nvSpPr>
            <p:cNvPr id="21" name="Text 18">
              <a:extLst>
                <a:ext uri="{FF2B5EF4-FFF2-40B4-BE49-F238E27FC236}">
                  <a16:creationId xmlns:a16="http://schemas.microsoft.com/office/drawing/2014/main" id="{EAA5F86C-5198-57E9-6C8F-C52912B1869B}"/>
                </a:ext>
              </a:extLst>
            </p:cNvPr>
            <p:cNvSpPr/>
            <p:nvPr/>
          </p:nvSpPr>
          <p:spPr>
            <a:xfrm>
              <a:off x="6400800" y="4724381"/>
              <a:ext cx="4389120" cy="1097280"/>
            </a:xfrm>
            <a:prstGeom prst="rect">
              <a:avLst/>
            </a:prstGeom>
            <a:noFill/>
            <a:ln/>
          </p:spPr>
          <p:txBody>
            <a:bodyPr wrap="square" rtlCol="0" anchor="ctr"/>
            <a:lstStyle/>
            <a:p>
              <a:pPr marL="0" indent="0">
                <a:lnSpc>
                  <a:spcPts val="2000"/>
                </a:lnSpc>
                <a:buNone/>
              </a:pPr>
              <a:r>
                <a:rPr lang="de-DE" sz="1200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Industriestandard, gründlich</a:t>
              </a:r>
              <a:endParaRPr lang="de-DE" sz="1200" noProof="0">
                <a:solidFill>
                  <a:schemeClr val="bg1"/>
                </a:solidFill>
              </a:endParaRPr>
            </a:p>
            <a:p>
              <a:pPr marL="0" indent="0">
                <a:lnSpc>
                  <a:spcPts val="2000"/>
                </a:lnSpc>
                <a:buNone/>
              </a:pPr>
              <a:r>
                <a:rPr lang="de-DE" sz="1200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Mehr Markdown-Overhead</a:t>
              </a:r>
              <a:endParaRPr lang="de-DE" sz="1200" noProof="0">
                <a:solidFill>
                  <a:schemeClr val="bg1"/>
                </a:solidFill>
              </a:endParaRPr>
            </a:p>
          </p:txBody>
        </p:sp>
        <p:sp>
          <p:nvSpPr>
            <p:cNvPr id="22" name="Shape 19">
              <a:extLst>
                <a:ext uri="{FF2B5EF4-FFF2-40B4-BE49-F238E27FC236}">
                  <a16:creationId xmlns:a16="http://schemas.microsoft.com/office/drawing/2014/main" id="{719762C9-1696-33B0-50CE-5107E159522F}"/>
                </a:ext>
              </a:extLst>
            </p:cNvPr>
            <p:cNvSpPr/>
            <p:nvPr/>
          </p:nvSpPr>
          <p:spPr>
            <a:xfrm>
              <a:off x="1339532" y="3672821"/>
              <a:ext cx="4754880" cy="2377440"/>
            </a:xfrm>
            <a:prstGeom prst="roundRect">
              <a:avLst>
                <a:gd name="adj" fmla="val 2308"/>
              </a:avLst>
            </a:prstGeom>
            <a:solidFill>
              <a:schemeClr val="tx1"/>
            </a:solidFill>
            <a:ln/>
          </p:spPr>
          <p:txBody>
            <a:bodyPr/>
            <a:lstStyle/>
            <a:p>
              <a:endParaRPr lang="de-DE" noProof="0">
                <a:solidFill>
                  <a:schemeClr val="bg1"/>
                </a:solidFill>
              </a:endParaRPr>
            </a:p>
          </p:txBody>
        </p:sp>
        <p:sp>
          <p:nvSpPr>
            <p:cNvPr id="24" name="Text 21">
              <a:extLst>
                <a:ext uri="{FF2B5EF4-FFF2-40B4-BE49-F238E27FC236}">
                  <a16:creationId xmlns:a16="http://schemas.microsoft.com/office/drawing/2014/main" id="{19BC69A0-0415-FD53-B3FA-369DF02EF573}"/>
                </a:ext>
              </a:extLst>
            </p:cNvPr>
            <p:cNvSpPr/>
            <p:nvPr/>
          </p:nvSpPr>
          <p:spPr>
            <a:xfrm>
              <a:off x="1522412" y="3901421"/>
              <a:ext cx="4389120" cy="274320"/>
            </a:xfrm>
            <a:prstGeom prst="rect">
              <a:avLst/>
            </a:prstGeom>
            <a:noFill/>
            <a:ln/>
          </p:spPr>
          <p:txBody>
            <a:bodyPr wrap="square" rtlCol="0" anchor="ctr"/>
            <a:lstStyle/>
            <a:p>
              <a:pPr marL="0" indent="0">
                <a:buNone/>
              </a:pPr>
              <a:r>
                <a:rPr lang="de-DE" sz="900" b="1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DANGER ZONE</a:t>
              </a:r>
              <a:endParaRPr lang="de-DE" sz="900" noProof="0">
                <a:solidFill>
                  <a:schemeClr val="bg1"/>
                </a:solidFill>
              </a:endParaRPr>
            </a:p>
          </p:txBody>
        </p:sp>
        <p:sp>
          <p:nvSpPr>
            <p:cNvPr id="25" name="Text 22">
              <a:extLst>
                <a:ext uri="{FF2B5EF4-FFF2-40B4-BE49-F238E27FC236}">
                  <a16:creationId xmlns:a16="http://schemas.microsoft.com/office/drawing/2014/main" id="{1BC725EB-634E-86FA-0EEB-ADB7207E828A}"/>
                </a:ext>
              </a:extLst>
            </p:cNvPr>
            <p:cNvSpPr/>
            <p:nvPr/>
          </p:nvSpPr>
          <p:spPr>
            <a:xfrm>
              <a:off x="1522412" y="4221461"/>
              <a:ext cx="4389120" cy="411480"/>
            </a:xfrm>
            <a:prstGeom prst="rect">
              <a:avLst/>
            </a:prstGeom>
            <a:noFill/>
            <a:ln/>
          </p:spPr>
          <p:txBody>
            <a:bodyPr wrap="square" rtlCol="0" anchor="ctr"/>
            <a:lstStyle/>
            <a:p>
              <a:pPr marL="0" indent="0">
                <a:buNone/>
              </a:pPr>
              <a:r>
                <a:rPr lang="de-DE" sz="1800" b="1" noProof="0" err="1">
                  <a:solidFill>
                    <a:schemeClr val="accent4"/>
                  </a:solidFill>
                  <a:ea typeface="Inter" pitchFamily="34" charset="-122"/>
                  <a:cs typeface="Inter" pitchFamily="34" charset="-120"/>
                </a:rPr>
                <a:t>No</a:t>
              </a:r>
              <a:r>
                <a:rPr lang="de-DE" sz="1800" b="1" noProof="0">
                  <a:solidFill>
                    <a:schemeClr val="accent4"/>
                  </a:solidFill>
                  <a:ea typeface="Inter" pitchFamily="34" charset="-122"/>
                  <a:cs typeface="Inter" pitchFamily="34" charset="-120"/>
                </a:rPr>
                <a:t> Tool / Vibe</a:t>
              </a:r>
              <a:endParaRPr lang="de-DE" sz="1800" noProof="0">
                <a:solidFill>
                  <a:schemeClr val="accent4"/>
                </a:solidFill>
              </a:endParaRPr>
            </a:p>
          </p:txBody>
        </p:sp>
        <p:sp>
          <p:nvSpPr>
            <p:cNvPr id="26" name="Text 23">
              <a:extLst>
                <a:ext uri="{FF2B5EF4-FFF2-40B4-BE49-F238E27FC236}">
                  <a16:creationId xmlns:a16="http://schemas.microsoft.com/office/drawing/2014/main" id="{D4E597D0-D959-EF07-F461-7E12813B48CD}"/>
                </a:ext>
              </a:extLst>
            </p:cNvPr>
            <p:cNvSpPr/>
            <p:nvPr/>
          </p:nvSpPr>
          <p:spPr>
            <a:xfrm>
              <a:off x="1522412" y="4724381"/>
              <a:ext cx="4389120" cy="1097280"/>
            </a:xfrm>
            <a:prstGeom prst="rect">
              <a:avLst/>
            </a:prstGeom>
            <a:noFill/>
            <a:ln/>
          </p:spPr>
          <p:txBody>
            <a:bodyPr wrap="square" rtlCol="0" anchor="ctr"/>
            <a:lstStyle/>
            <a:p>
              <a:pPr marL="0" indent="0">
                <a:lnSpc>
                  <a:spcPts val="2000"/>
                </a:lnSpc>
                <a:buNone/>
              </a:pPr>
              <a:r>
                <a:rPr lang="de-DE" sz="1200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Chaos, keine Reproduzierbarkeit</a:t>
              </a:r>
              <a:endParaRPr lang="de-DE" sz="1200" noProof="0">
                <a:solidFill>
                  <a:schemeClr val="bg1"/>
                </a:solidFill>
              </a:endParaRPr>
            </a:p>
            <a:p>
              <a:pPr marL="0" indent="0">
                <a:lnSpc>
                  <a:spcPts val="2000"/>
                </a:lnSpc>
                <a:buNone/>
              </a:pPr>
              <a:r>
                <a:rPr lang="de-DE" sz="1200" noProof="0">
                  <a:solidFill>
                    <a:schemeClr val="bg1"/>
                  </a:solidFill>
                  <a:ea typeface="Inter" pitchFamily="34" charset="-122"/>
                  <a:cs typeface="Inter" pitchFamily="34" charset="-120"/>
                </a:rPr>
                <a:t>High Risk</a:t>
              </a:r>
              <a:endParaRPr lang="de-DE" sz="12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30" name="Textfeld 29">
            <a:extLst>
              <a:ext uri="{FF2B5EF4-FFF2-40B4-BE49-F238E27FC236}">
                <a16:creationId xmlns:a16="http://schemas.microsoft.com/office/drawing/2014/main" id="{5366244B-3441-6C8B-076B-B9809B5D43C6}"/>
              </a:ext>
            </a:extLst>
          </p:cNvPr>
          <p:cNvSpPr txBox="1"/>
          <p:nvPr/>
        </p:nvSpPr>
        <p:spPr>
          <a:xfrm rot="16200000">
            <a:off x="698177" y="3692931"/>
            <a:ext cx="781779" cy="25391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050" noProof="0">
                <a:ea typeface="Inter" pitchFamily="34" charset="-122"/>
                <a:cs typeface="Inter" pitchFamily="34" charset="-120"/>
              </a:rPr>
              <a:t>Velocity</a:t>
            </a:r>
            <a:endParaRPr lang="de-DE" sz="1050" noProof="0"/>
          </a:p>
        </p:txBody>
      </p:sp>
    </p:spTree>
    <p:extLst>
      <p:ext uri="{BB962C8B-B14F-4D97-AF65-F5344CB8AC3E}">
        <p14:creationId xmlns:p14="http://schemas.microsoft.com/office/powerpoint/2010/main" val="32832787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A12327-1314-FF5C-B23D-DE92F6490B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2C3DD75E-EB45-71D2-31E5-32D13A189431}"/>
              </a:ext>
            </a:extLst>
          </p:cNvPr>
          <p:cNvSpPr/>
          <p:nvPr/>
        </p:nvSpPr>
        <p:spPr>
          <a:xfrm>
            <a:off x="-1" y="893"/>
            <a:ext cx="6094413" cy="6462179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D8C024B-4F50-D771-7789-D738957A6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>
                <a:highlight>
                  <a:srgbClr val="FFFFFF"/>
                </a:highlight>
              </a:rPr>
              <a:t>Erfahrung &amp; Ausblick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39D729E-CDB6-6D88-8B69-D3246FB7D0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 noProof="0" dirty="0" err="1">
                <a:latin typeface="Sen ExtraBold"/>
              </a:rPr>
              <a:t>Exxeta</a:t>
            </a:r>
            <a:r>
              <a:rPr lang="de-DE" noProof="0" dirty="0">
                <a:latin typeface="Sen ExtraBold"/>
              </a:rPr>
              <a:t> x OTTO | trade/off Summit | Heidelberg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C0B60A9-AF1D-FD83-BEC7-950F92D086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993" y="1164183"/>
            <a:ext cx="3970290" cy="5138353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5D34F023-FEE2-DB81-5CBD-67988AD8632C}"/>
              </a:ext>
            </a:extLst>
          </p:cNvPr>
          <p:cNvSpPr txBox="1"/>
          <p:nvPr/>
        </p:nvSpPr>
        <p:spPr>
          <a:xfrm>
            <a:off x="6589021" y="1508158"/>
            <a:ext cx="5246223" cy="172382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ts val="2200"/>
              </a:lnSpc>
              <a:spcAft>
                <a:spcPts val="1200"/>
              </a:spcAft>
            </a:pPr>
            <a:r>
              <a:rPr lang="de-DE" noProof="0">
                <a:ea typeface="Inter" pitchFamily="34" charset="-122"/>
                <a:cs typeface="Inter" pitchFamily="34" charset="-120"/>
              </a:rPr>
              <a:t>Wir verproben AI-First-Projekte mit </a:t>
            </a:r>
            <a:r>
              <a:rPr lang="de-DE" noProof="0" err="1">
                <a:ea typeface="Inter" pitchFamily="34" charset="-122"/>
                <a:cs typeface="Inter" pitchFamily="34" charset="-120"/>
              </a:rPr>
              <a:t>SpecKit</a:t>
            </a:r>
            <a:r>
              <a:rPr lang="de-DE" noProof="0">
                <a:ea typeface="Inter" pitchFamily="34" charset="-122"/>
                <a:cs typeface="Inter" pitchFamily="34" charset="-120"/>
              </a:rPr>
              <a:t> — läuft gut.</a:t>
            </a:r>
          </a:p>
          <a:p>
            <a:pPr>
              <a:lnSpc>
                <a:spcPts val="2200"/>
              </a:lnSpc>
              <a:spcAft>
                <a:spcPts val="1200"/>
              </a:spcAft>
            </a:pPr>
            <a:endParaRPr lang="de-DE" noProof="0">
              <a:ea typeface="Inter" pitchFamily="34" charset="-122"/>
            </a:endParaRPr>
          </a:p>
          <a:p>
            <a:pPr>
              <a:lnSpc>
                <a:spcPts val="2200"/>
              </a:lnSpc>
              <a:spcAft>
                <a:spcPts val="1200"/>
              </a:spcAft>
            </a:pPr>
            <a:r>
              <a:rPr lang="de-DE" noProof="0">
                <a:ea typeface="Inter" pitchFamily="34" charset="-122"/>
                <a:cs typeface="Inter" pitchFamily="34" charset="-120"/>
              </a:rPr>
              <a:t>Übliche LLM-Probleme (Halluzination, Kontext) im Griff durch klare </a:t>
            </a:r>
            <a:r>
              <a:rPr lang="de-DE" noProof="0" err="1">
                <a:ea typeface="Inter" pitchFamily="34" charset="-122"/>
                <a:cs typeface="Inter" pitchFamily="34" charset="-120"/>
              </a:rPr>
              <a:t>Specs</a:t>
            </a:r>
            <a:r>
              <a:rPr lang="de-DE" noProof="0">
                <a:ea typeface="Inter" pitchFamily="34" charset="-122"/>
                <a:cs typeface="Inter" pitchFamily="34" charset="-120"/>
              </a:rPr>
              <a:t>.</a:t>
            </a:r>
          </a:p>
          <a:p>
            <a:pPr>
              <a:lnSpc>
                <a:spcPts val="2200"/>
              </a:lnSpc>
              <a:spcAft>
                <a:spcPts val="1200"/>
              </a:spcAft>
            </a:pPr>
            <a:endParaRPr lang="de-DE" noProof="0">
              <a:ea typeface="Inter" pitchFamily="34" charset="-122"/>
            </a:endParaRPr>
          </a:p>
          <a:p>
            <a:pPr>
              <a:lnSpc>
                <a:spcPts val="2200"/>
              </a:lnSpc>
              <a:spcAft>
                <a:spcPts val="1200"/>
              </a:spcAft>
            </a:pPr>
            <a:r>
              <a:rPr lang="de-DE" noProof="0">
                <a:ea typeface="Inter" pitchFamily="34" charset="-122"/>
                <a:cs typeface="Inter" pitchFamily="34" charset="-120"/>
              </a:rPr>
              <a:t>GitHub Copilot Enterprise reicht den Devs aktuell (noch) gut aus.</a:t>
            </a:r>
            <a:endParaRPr lang="de-DE" noProof="0"/>
          </a:p>
          <a:p>
            <a:pPr>
              <a:lnSpc>
                <a:spcPts val="2200"/>
              </a:lnSpc>
              <a:spcAft>
                <a:spcPts val="1200"/>
              </a:spcAft>
            </a:pPr>
            <a:endParaRPr lang="de-DE" noProof="0"/>
          </a:p>
          <a:p>
            <a:pPr>
              <a:lnSpc>
                <a:spcPts val="2200"/>
              </a:lnSpc>
              <a:spcAft>
                <a:spcPts val="1200"/>
              </a:spcAft>
            </a:pPr>
            <a:r>
              <a:rPr lang="de-DE" noProof="0">
                <a:ea typeface="Inter" pitchFamily="34" charset="-122"/>
                <a:cs typeface="Inter" pitchFamily="34" charset="-120"/>
              </a:rPr>
              <a:t>Agent-Einsatz nur mit klarem </a:t>
            </a:r>
            <a:r>
              <a:rPr lang="de-DE" noProof="0" err="1">
                <a:ea typeface="Inter" pitchFamily="34" charset="-122"/>
                <a:cs typeface="Inter" pitchFamily="34" charset="-120"/>
              </a:rPr>
              <a:t>Spec</a:t>
            </a:r>
            <a:r>
              <a:rPr lang="de-DE" noProof="0">
                <a:ea typeface="Inter" pitchFamily="34" charset="-122"/>
                <a:cs typeface="Inter" pitchFamily="34" charset="-120"/>
              </a:rPr>
              <a:t> + HITL-Routine.</a:t>
            </a:r>
            <a:endParaRPr lang="de-DE" noProof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35B3735-46AC-62F8-F91D-3A6A27B9A5B4}"/>
              </a:ext>
            </a:extLst>
          </p:cNvPr>
          <p:cNvSpPr txBox="1"/>
          <p:nvPr/>
        </p:nvSpPr>
        <p:spPr>
          <a:xfrm>
            <a:off x="8417821" y="6139190"/>
            <a:ext cx="2400991" cy="26161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indent="0">
              <a:buNone/>
            </a:pPr>
            <a:r>
              <a:rPr lang="de-DE" sz="1100" noProof="0" dirty="0" err="1">
                <a:ea typeface="Inter" pitchFamily="34" charset="-122"/>
                <a:cs typeface="Inter" pitchFamily="34" charset="-120"/>
              </a:rPr>
              <a:t>Heidelguide</a:t>
            </a:r>
            <a:r>
              <a:rPr lang="de-DE" sz="1100" dirty="0">
                <a:ea typeface="Inter" pitchFamily="34" charset="-122"/>
                <a:cs typeface="Inter" pitchFamily="34" charset="-120"/>
              </a:rPr>
              <a:t>: </a:t>
            </a:r>
            <a:r>
              <a:rPr lang="de-DE" sz="1100" noProof="0" dirty="0">
                <a:ea typeface="Inter" pitchFamily="34" charset="-122"/>
                <a:cs typeface="Inter" pitchFamily="34" charset="-120"/>
              </a:rPr>
              <a:t>Demo-App mit Kiro gebaut</a:t>
            </a:r>
            <a:endParaRPr lang="de-DE" sz="1100" noProof="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BE66D08-685E-46F3-996D-A0B0B798DE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5202" y="5093823"/>
            <a:ext cx="1332809" cy="133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5157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D337A9-EFA3-EC0C-B97E-BAC3DA952C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0D7EEBB7-9FE1-A040-C9C7-206BFAE3AA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17" y="695659"/>
            <a:ext cx="5274177" cy="4514016"/>
          </a:xfrm>
        </p:spPr>
        <p:txBody>
          <a:bodyPr anchor="ctr">
            <a:normAutofit/>
          </a:bodyPr>
          <a:lstStyle/>
          <a:p>
            <a:r>
              <a:rPr lang="de-DE" noProof="0"/>
              <a:t>Structured</a:t>
            </a:r>
            <a:br>
              <a:rPr lang="de-DE" noProof="0"/>
            </a:br>
            <a:r>
              <a:rPr lang="de-DE" noProof="0" err="1"/>
              <a:t>Deployment</a:t>
            </a:r>
            <a:endParaRPr lang="de-DE" noProof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CA93CC5-8F24-E574-0460-01340E2E51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1479" y="203199"/>
            <a:ext cx="5291452" cy="345510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de-DE" noProof="0"/>
              <a:t>04</a:t>
            </a:r>
          </a:p>
        </p:txBody>
      </p:sp>
      <p:sp>
        <p:nvSpPr>
          <p:cNvPr id="2" name="Textplatzhalter 11">
            <a:extLst>
              <a:ext uri="{FF2B5EF4-FFF2-40B4-BE49-F238E27FC236}">
                <a16:creationId xmlns:a16="http://schemas.microsoft.com/office/drawing/2014/main" id="{DA902E9E-7C0E-EADE-5040-9DF5530A0F16}"/>
              </a:ext>
            </a:extLst>
          </p:cNvPr>
          <p:cNvSpPr txBox="1">
            <a:spLocks/>
          </p:cNvSpPr>
          <p:nvPr/>
        </p:nvSpPr>
        <p:spPr>
          <a:xfrm>
            <a:off x="401584" y="4034130"/>
            <a:ext cx="5292830" cy="345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130000"/>
              </a:lnSpc>
              <a:spcBef>
                <a:spcPts val="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400" indent="-18000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800" indent="-18000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1600" indent="-18000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noProof="0">
                <a:ea typeface="Inter" pitchFamily="34" charset="-122"/>
                <a:cs typeface="Inter" pitchFamily="34" charset="-120"/>
              </a:rPr>
              <a:t>Business Impact &amp; Transparenz</a:t>
            </a:r>
            <a:endParaRPr lang="de-DE" noProof="0"/>
          </a:p>
        </p:txBody>
      </p:sp>
      <p:pic>
        <p:nvPicPr>
          <p:cNvPr id="3" name="Grafik 2" descr="Ein Bild, das Treppe, Schwarzweiß, Gebäude, Symmetrie enthält.&#10;&#10;KI-generierte Inhalte können fehlerhaft sein.">
            <a:extLst>
              <a:ext uri="{FF2B5EF4-FFF2-40B4-BE49-F238E27FC236}">
                <a16:creationId xmlns:a16="http://schemas.microsoft.com/office/drawing/2014/main" id="{DBB05DDC-32C0-1961-508E-81DF9EC8BA0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5613"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D0B2FD9-97F6-964A-82D5-92FC98B9A9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5569" y="2355889"/>
            <a:ext cx="2562203" cy="4103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5120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5469CD-2E5F-6704-D59F-805D15A50F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43DA1AE-793C-26A5-1AD2-C7B7CCB28C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 noProof="0">
                <a:latin typeface="Sen ExtraBold"/>
              </a:rPr>
              <a:t>Exxeta x OTTO | trade/off Summit | Heidelber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1848CD3-B74A-A7DE-C5BE-6E3264FBD56C}"/>
              </a:ext>
            </a:extLst>
          </p:cNvPr>
          <p:cNvSpPr/>
          <p:nvPr/>
        </p:nvSpPr>
        <p:spPr>
          <a:xfrm>
            <a:off x="6088873" y="893"/>
            <a:ext cx="6099952" cy="645785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D2B99496-5B43-546B-C52F-615388648816}"/>
              </a:ext>
            </a:extLst>
          </p:cNvPr>
          <p:cNvSpPr txBox="1">
            <a:spLocks/>
          </p:cNvSpPr>
          <p:nvPr/>
        </p:nvSpPr>
        <p:spPr>
          <a:xfrm>
            <a:off x="6656394" y="1303019"/>
            <a:ext cx="5279947" cy="51557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Bandeins Strange" pitchFamily="2" charset="0"/>
                <a:ea typeface="+mj-ea"/>
                <a:cs typeface="+mj-cs"/>
              </a:defRPr>
            </a:lvl1pPr>
          </a:lstStyle>
          <a:p>
            <a:r>
              <a:rPr lang="de-DE" sz="3199" noProof="0">
                <a:solidFill>
                  <a:schemeClr val="bg1"/>
                </a:solidFill>
                <a:latin typeface="+mj-lt"/>
              </a:rPr>
              <a:t>Entwicklungszyklen</a:t>
            </a:r>
            <a:br>
              <a:rPr lang="de-DE" sz="3199" noProof="0">
                <a:solidFill>
                  <a:schemeClr val="bg1"/>
                </a:solidFill>
                <a:latin typeface="+mj-lt"/>
              </a:rPr>
            </a:br>
            <a:r>
              <a:rPr lang="de-DE" sz="3199" noProof="0">
                <a:solidFill>
                  <a:schemeClr val="bg1"/>
                </a:solidFill>
                <a:latin typeface="+mj-lt"/>
              </a:rPr>
              <a:t>verkürzen</a:t>
            </a:r>
          </a:p>
          <a:p>
            <a:endParaRPr lang="de-DE" sz="3199" noProof="0">
              <a:solidFill>
                <a:schemeClr val="bg1"/>
              </a:solidFill>
              <a:latin typeface="+mj-lt"/>
            </a:endParaRPr>
          </a:p>
          <a:p>
            <a:endParaRPr lang="de-DE" sz="1799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Strukturierter Agent-Einsatz statt Ad-hoc-</a:t>
            </a:r>
            <a:r>
              <a:rPr lang="de-DE" sz="1600" b="0" noProof="0" err="1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Prompting</a:t>
            </a:r>
            <a:endParaRPr lang="de-DE" sz="1600" b="0" noProof="0">
              <a:solidFill>
                <a:schemeClr val="bg1"/>
              </a:solidFill>
              <a:latin typeface="+mn-lt"/>
              <a:ea typeface="Inter" pitchFamily="34" charset="-122"/>
              <a:cs typeface="Inter" pitchFamily="34" charset="-120"/>
            </a:endParaRPr>
          </a:p>
          <a:p>
            <a:pPr>
              <a:lnSpc>
                <a:spcPts val="2200"/>
              </a:lnSpc>
            </a:pPr>
            <a:endParaRPr lang="de-DE" sz="1600" b="0" noProof="0">
              <a:solidFill>
                <a:schemeClr val="bg1"/>
              </a:solidFill>
              <a:latin typeface="+mn-lt"/>
              <a:ea typeface="Inter" pitchFamily="34" charset="-122"/>
            </a:endParaRPr>
          </a:p>
          <a:p>
            <a:pPr>
              <a:lnSpc>
                <a:spcPts val="2200"/>
              </a:lnSpc>
            </a:pPr>
            <a:r>
              <a:rPr lang="de-DE" sz="1600" b="0" noProof="0" err="1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Spec</a:t>
            </a: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-getriebene Iterationen: </a:t>
            </a:r>
            <a:b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</a:b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weniger Schleifen, schnellere Ergebnisse</a:t>
            </a:r>
            <a:endParaRPr lang="de-DE" sz="1600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endParaRPr lang="de-DE" sz="1600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Release-Frequenz steigt:</a:t>
            </a:r>
            <a:b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</a:b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von wöchentlich auf täglich (stündlich)</a:t>
            </a:r>
            <a:endParaRPr lang="de-DE" sz="1600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endParaRPr lang="de-DE" sz="2000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ED1CAFD-72A5-0E89-22A8-138F23A6C3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4618" y="2116872"/>
            <a:ext cx="2730746" cy="2624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9181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5D7896-A443-1DB2-18AA-0395B6382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FAE541-ED2C-8E80-7055-A14905FF1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 noProof="0">
                <a:latin typeface="Sen ExtraBold"/>
              </a:rPr>
              <a:t>Exxeta x OTTO | trade/off Summit | Heidelber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B3C439-1DFA-8196-C762-00727C39E284}"/>
              </a:ext>
            </a:extLst>
          </p:cNvPr>
          <p:cNvSpPr/>
          <p:nvPr/>
        </p:nvSpPr>
        <p:spPr>
          <a:xfrm>
            <a:off x="6088873" y="893"/>
            <a:ext cx="6099952" cy="645785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F7F1BB2B-7D13-8CB3-0AAA-C4258F20DCFF}"/>
              </a:ext>
            </a:extLst>
          </p:cNvPr>
          <p:cNvSpPr txBox="1">
            <a:spLocks/>
          </p:cNvSpPr>
          <p:nvPr/>
        </p:nvSpPr>
        <p:spPr>
          <a:xfrm>
            <a:off x="6656394" y="1303019"/>
            <a:ext cx="5279947" cy="51557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Bandeins Strange" pitchFamily="2" charset="0"/>
                <a:ea typeface="+mj-ea"/>
                <a:cs typeface="+mj-cs"/>
              </a:defRPr>
            </a:lvl1pPr>
          </a:lstStyle>
          <a:p>
            <a:r>
              <a:rPr lang="de-DE" sz="3199" noProof="0">
                <a:solidFill>
                  <a:schemeClr val="bg1"/>
                </a:solidFill>
                <a:latin typeface="+mj-lt"/>
              </a:rPr>
              <a:t>Know </a:t>
            </a:r>
            <a:r>
              <a:rPr lang="de-DE" sz="3199" noProof="0" err="1">
                <a:solidFill>
                  <a:schemeClr val="bg1"/>
                </a:solidFill>
                <a:latin typeface="+mj-lt"/>
              </a:rPr>
              <a:t>your</a:t>
            </a:r>
            <a:r>
              <a:rPr lang="de-DE" sz="3199" noProof="0">
                <a:solidFill>
                  <a:schemeClr val="bg1"/>
                </a:solidFill>
                <a:latin typeface="+mj-lt"/>
              </a:rPr>
              <a:t> Models and</a:t>
            </a:r>
            <a:br>
              <a:rPr lang="de-DE" sz="3199" noProof="0">
                <a:solidFill>
                  <a:schemeClr val="bg1"/>
                </a:solidFill>
                <a:latin typeface="+mj-lt"/>
              </a:rPr>
            </a:br>
            <a:r>
              <a:rPr lang="de-DE" sz="3199" noProof="0">
                <a:solidFill>
                  <a:schemeClr val="bg1"/>
                </a:solidFill>
                <a:latin typeface="+mj-lt"/>
              </a:rPr>
              <a:t>Harness</a:t>
            </a:r>
          </a:p>
          <a:p>
            <a:endParaRPr lang="de-DE" sz="3199" noProof="0">
              <a:solidFill>
                <a:schemeClr val="bg1"/>
              </a:solidFill>
              <a:latin typeface="+mj-lt"/>
            </a:endParaRPr>
          </a:p>
          <a:p>
            <a:endParaRPr lang="de-DE" sz="1799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Transparenz über Fähigkeiten:</a:t>
            </a:r>
          </a:p>
          <a:p>
            <a:pPr>
              <a:lnSpc>
                <a:spcPts val="2200"/>
              </a:lnSpc>
            </a:pP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was kann welches Modell?</a:t>
            </a:r>
          </a:p>
          <a:p>
            <a:pPr>
              <a:lnSpc>
                <a:spcPts val="2200"/>
              </a:lnSpc>
            </a:pPr>
            <a:endParaRPr lang="de-DE" sz="1600" b="0" noProof="0">
              <a:solidFill>
                <a:schemeClr val="bg1"/>
              </a:solidFill>
              <a:latin typeface="+mn-lt"/>
              <a:ea typeface="Inter" pitchFamily="34" charset="-122"/>
            </a:endParaRPr>
          </a:p>
          <a:p>
            <a:pPr>
              <a:lnSpc>
                <a:spcPts val="2200"/>
              </a:lnSpc>
            </a:pP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Kosten bewusst steuern:</a:t>
            </a:r>
          </a:p>
          <a:p>
            <a:pPr>
              <a:lnSpc>
                <a:spcPts val="2200"/>
              </a:lnSpc>
            </a:pP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nicht jeder Task braucht das größte Modell</a:t>
            </a:r>
            <a:endParaRPr lang="de-DE" sz="1600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endParaRPr lang="de-DE" sz="1600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Den kompletten Stack kennen, besser “ownen”:</a:t>
            </a:r>
          </a:p>
          <a:p>
            <a:pPr>
              <a:lnSpc>
                <a:spcPts val="2200"/>
              </a:lnSpc>
            </a:pPr>
            <a:r>
              <a:rPr lang="de-DE" sz="1600" b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A</a:t>
            </a:r>
            <a:r>
              <a:rPr lang="de-DE" sz="1600" b="0" noProof="0" err="1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gent</a:t>
            </a: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 Harness, Inferenz-Plattform</a:t>
            </a:r>
            <a:endParaRPr lang="de-DE" sz="1600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endParaRPr lang="de-DE" sz="160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endParaRPr lang="de-DE" sz="2000" noProof="0">
              <a:solidFill>
                <a:schemeClr val="bg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0243E55-D082-4E0D-DBB0-B59F58A84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591" y="694266"/>
            <a:ext cx="5532282" cy="5532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614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B4CF02-F676-450F-17D9-D9D4314FD0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1E3DC41-7DE3-6808-0095-50C13E06CE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 noProof="0">
                <a:latin typeface="Sen ExtraBold"/>
              </a:rPr>
              <a:t>Exxeta x OTTO | trade/off Summit | Heidelber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1FAC111-C94E-3BF2-CF3A-A9A504E16769}"/>
              </a:ext>
            </a:extLst>
          </p:cNvPr>
          <p:cNvSpPr/>
          <p:nvPr/>
        </p:nvSpPr>
        <p:spPr>
          <a:xfrm>
            <a:off x="6088873" y="893"/>
            <a:ext cx="6099952" cy="645785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B47651A7-B730-CF03-166B-4578EA9D09AD}"/>
              </a:ext>
            </a:extLst>
          </p:cNvPr>
          <p:cNvSpPr txBox="1">
            <a:spLocks/>
          </p:cNvSpPr>
          <p:nvPr/>
        </p:nvSpPr>
        <p:spPr>
          <a:xfrm>
            <a:off x="6656394" y="1303019"/>
            <a:ext cx="5279947" cy="51557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Bandeins Strange" pitchFamily="2" charset="0"/>
                <a:ea typeface="+mj-ea"/>
                <a:cs typeface="+mj-cs"/>
              </a:defRPr>
            </a:lvl1pPr>
          </a:lstStyle>
          <a:p>
            <a:r>
              <a:rPr lang="de-DE" sz="3199" noProof="0">
                <a:solidFill>
                  <a:schemeClr val="bg1"/>
                </a:solidFill>
                <a:latin typeface="+mj-lt"/>
              </a:rPr>
              <a:t>Die Rolle des</a:t>
            </a:r>
            <a:br>
              <a:rPr lang="de-DE" sz="3199" noProof="0">
                <a:solidFill>
                  <a:schemeClr val="bg1"/>
                </a:solidFill>
                <a:latin typeface="+mj-lt"/>
              </a:rPr>
            </a:br>
            <a:r>
              <a:rPr lang="de-DE" sz="3199" noProof="0">
                <a:solidFill>
                  <a:schemeClr val="bg1"/>
                </a:solidFill>
                <a:latin typeface="+mj-lt"/>
              </a:rPr>
              <a:t>Menschen</a:t>
            </a:r>
          </a:p>
          <a:p>
            <a:endParaRPr lang="de-DE" sz="3199" noProof="0">
              <a:solidFill>
                <a:schemeClr val="bg1"/>
              </a:solidFill>
              <a:latin typeface="+mj-lt"/>
            </a:endParaRPr>
          </a:p>
          <a:p>
            <a:endParaRPr lang="de-DE" sz="1799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Review bleibt unverzichtbar</a:t>
            </a:r>
            <a:endParaRPr lang="de-DE" sz="1600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endParaRPr lang="de-DE" sz="1600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Korrektheit sicherstellen</a:t>
            </a:r>
            <a:endParaRPr lang="de-DE" sz="1600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endParaRPr lang="de-DE" sz="1600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r>
              <a:rPr lang="de-DE" sz="1600" b="0" noProof="0" err="1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Guardrails</a:t>
            </a: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 definieren und durchsetzen</a:t>
            </a:r>
            <a:endParaRPr lang="de-DE" sz="1600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endParaRPr lang="de-DE" sz="1600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Human-in-</a:t>
            </a:r>
            <a:r>
              <a:rPr lang="de-DE" sz="1600" b="0" noProof="0" err="1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the</a:t>
            </a:r>
            <a:r>
              <a:rPr lang="de-DE" sz="1600" b="0" noProof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-Loop als Qualitätsmerkmal</a:t>
            </a:r>
            <a:endParaRPr lang="de-DE" sz="1600" b="0" noProof="0">
              <a:solidFill>
                <a:schemeClr val="bg1"/>
              </a:solidFill>
              <a:latin typeface="+mn-lt"/>
            </a:endParaRPr>
          </a:p>
          <a:p>
            <a:pPr>
              <a:lnSpc>
                <a:spcPts val="2200"/>
              </a:lnSpc>
            </a:pPr>
            <a:endParaRPr lang="de-DE" sz="2000" noProof="0">
              <a:solidFill>
                <a:schemeClr val="bg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F0AB163-4D0B-13C6-A421-24F84B66E9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503" y="1117947"/>
            <a:ext cx="4365321" cy="4365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833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28446-F450-6775-4829-0B94403CF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3BBB6A-2B25-CB44-5E67-3AF480477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 noProof="0">
                <a:latin typeface="Sen ExtraBold"/>
              </a:rPr>
              <a:t>Exxeta x OTTO | trade/off Summit | Heidelber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DA569B7-D1D5-080B-8CEF-EA2666A787FF}"/>
              </a:ext>
            </a:extLst>
          </p:cNvPr>
          <p:cNvSpPr/>
          <p:nvPr/>
        </p:nvSpPr>
        <p:spPr>
          <a:xfrm>
            <a:off x="-5540" y="893"/>
            <a:ext cx="6099952" cy="645785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CD1C203E-8BD9-138C-012A-98DCB4E86A27}"/>
              </a:ext>
            </a:extLst>
          </p:cNvPr>
          <p:cNvSpPr txBox="1">
            <a:spLocks/>
          </p:cNvSpPr>
          <p:nvPr/>
        </p:nvSpPr>
        <p:spPr>
          <a:xfrm>
            <a:off x="6656394" y="1303019"/>
            <a:ext cx="5279947" cy="51557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Bandeins Strange" pitchFamily="2" charset="0"/>
                <a:ea typeface="+mj-ea"/>
                <a:cs typeface="+mj-cs"/>
              </a:defRPr>
            </a:lvl1pPr>
          </a:lstStyle>
          <a:p>
            <a:r>
              <a:rPr lang="de-DE" sz="3199" noProof="0">
                <a:solidFill>
                  <a:schemeClr val="accent4"/>
                </a:solidFill>
                <a:latin typeface="+mj-lt"/>
              </a:rPr>
              <a:t>Reality Check</a:t>
            </a:r>
            <a:br>
              <a:rPr lang="de-DE" sz="3199" noProof="0">
                <a:latin typeface="+mj-lt"/>
              </a:rPr>
            </a:br>
            <a:r>
              <a:rPr lang="de-DE" sz="3199" noProof="0">
                <a:latin typeface="+mj-lt"/>
              </a:rPr>
              <a:t>Messbare Ergebnisse</a:t>
            </a:r>
          </a:p>
          <a:p>
            <a:endParaRPr lang="de-DE" sz="3199" noProof="0">
              <a:latin typeface="+mj-lt"/>
            </a:endParaRPr>
          </a:p>
          <a:p>
            <a:endParaRPr lang="de-DE" sz="1799" b="0" noProof="0">
              <a:latin typeface="+mn-lt"/>
            </a:endParaRPr>
          </a:p>
          <a:p>
            <a:pPr>
              <a:lnSpc>
                <a:spcPts val="2200"/>
              </a:lnSpc>
            </a:pPr>
            <a:r>
              <a:rPr lang="de-DE" sz="1600" b="0" noProof="0">
                <a:latin typeface="+mn-lt"/>
                <a:ea typeface="Inter" pitchFamily="34" charset="-122"/>
                <a:cs typeface="Inter" pitchFamily="34" charset="-120"/>
              </a:rPr>
              <a:t>Time-</a:t>
            </a:r>
            <a:r>
              <a:rPr lang="de-DE" sz="1600" b="0" noProof="0" err="1">
                <a:latin typeface="+mn-lt"/>
                <a:ea typeface="Inter" pitchFamily="34" charset="-122"/>
                <a:cs typeface="Inter" pitchFamily="34" charset="-120"/>
              </a:rPr>
              <a:t>to</a:t>
            </a:r>
            <a:r>
              <a:rPr lang="de-DE" sz="1600" b="0" noProof="0">
                <a:latin typeface="+mn-lt"/>
                <a:ea typeface="Inter" pitchFamily="34" charset="-122"/>
                <a:cs typeface="Inter" pitchFamily="34" charset="-120"/>
              </a:rPr>
              <a:t>-Market: Von Monaten auf Wochen verkürzt</a:t>
            </a:r>
            <a:endParaRPr lang="de-DE" sz="1600" b="0" noProof="0">
              <a:latin typeface="+mn-lt"/>
            </a:endParaRPr>
          </a:p>
          <a:p>
            <a:pPr>
              <a:lnSpc>
                <a:spcPts val="2200"/>
              </a:lnSpc>
            </a:pPr>
            <a:endParaRPr lang="de-DE" sz="1600" b="0" noProof="0">
              <a:latin typeface="+mn-lt"/>
            </a:endParaRPr>
          </a:p>
          <a:p>
            <a:pPr>
              <a:lnSpc>
                <a:spcPts val="2200"/>
              </a:lnSpc>
            </a:pPr>
            <a:r>
              <a:rPr lang="de-DE" sz="1600" b="0" noProof="0">
                <a:latin typeface="+mn-lt"/>
                <a:ea typeface="Inter" pitchFamily="34" charset="-122"/>
                <a:cs typeface="Inter" pitchFamily="34" charset="-120"/>
              </a:rPr>
              <a:t>Release-Frequenz: Deutlich gesteigert</a:t>
            </a:r>
            <a:endParaRPr lang="de-DE" sz="1600" b="0" noProof="0">
              <a:latin typeface="+mn-lt"/>
            </a:endParaRPr>
          </a:p>
          <a:p>
            <a:pPr>
              <a:lnSpc>
                <a:spcPts val="2200"/>
              </a:lnSpc>
            </a:pPr>
            <a:endParaRPr lang="de-DE" sz="1600" b="0" noProof="0">
              <a:latin typeface="+mn-lt"/>
            </a:endParaRPr>
          </a:p>
          <a:p>
            <a:pPr>
              <a:lnSpc>
                <a:spcPts val="2200"/>
              </a:lnSpc>
            </a:pPr>
            <a:r>
              <a:rPr lang="de-DE" sz="1600" b="0" noProof="0">
                <a:latin typeface="+mn-lt"/>
                <a:ea typeface="Inter" pitchFamily="34" charset="-122"/>
                <a:cs typeface="Inter" pitchFamily="34" charset="-120"/>
              </a:rPr>
              <a:t>Qualitätssteigerung: Weniger Bugs durch klarere </a:t>
            </a:r>
            <a:r>
              <a:rPr lang="de-DE" sz="1600" b="0" noProof="0" err="1">
                <a:latin typeface="+mn-lt"/>
                <a:ea typeface="Inter" pitchFamily="34" charset="-122"/>
                <a:cs typeface="Inter" pitchFamily="34" charset="-120"/>
              </a:rPr>
              <a:t>Specs</a:t>
            </a:r>
            <a:endParaRPr lang="de-DE" sz="1600" b="0" noProof="0">
              <a:latin typeface="+mn-lt"/>
            </a:endParaRPr>
          </a:p>
          <a:p>
            <a:pPr>
              <a:lnSpc>
                <a:spcPts val="2200"/>
              </a:lnSpc>
            </a:pPr>
            <a:endParaRPr lang="de-DE" sz="1600" b="0" noProof="0">
              <a:latin typeface="+mn-lt"/>
            </a:endParaRPr>
          </a:p>
          <a:p>
            <a:pPr>
              <a:lnSpc>
                <a:spcPts val="2200"/>
              </a:lnSpc>
            </a:pPr>
            <a:r>
              <a:rPr lang="de-DE" sz="1600" b="0" noProof="0">
                <a:latin typeface="+mn-lt"/>
                <a:ea typeface="Inter" pitchFamily="34" charset="-122"/>
                <a:cs typeface="Inter" pitchFamily="34" charset="-120"/>
              </a:rPr>
              <a:t>Kosten: Token-Verbrauch durch Struktur reduziert</a:t>
            </a:r>
            <a:endParaRPr lang="de-DE" sz="1600" b="0" noProof="0">
              <a:latin typeface="+mn-lt"/>
            </a:endParaRPr>
          </a:p>
          <a:p>
            <a:pPr>
              <a:lnSpc>
                <a:spcPts val="2200"/>
              </a:lnSpc>
            </a:pPr>
            <a:endParaRPr lang="de-DE" sz="2000" noProof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EB423BB-7B69-55CC-444D-3FA763B760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984" y="1393149"/>
            <a:ext cx="4576802" cy="3673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601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3A63C04E-118A-28BF-7144-07A55E3003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9934533">
            <a:off x="-1077135" y="841925"/>
            <a:ext cx="6793882" cy="1886063"/>
          </a:xfrm>
          <a:prstGeom prst="rect">
            <a:avLst/>
          </a:prstGeom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949B7BD-9694-0DA5-8C3E-365A46DFB9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B7BD-9694-0DA5-8C3E-365A46DFB9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7B270A-1D57-645B-96F2-845B97E9C6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886" y="556212"/>
            <a:ext cx="11229075" cy="461545"/>
          </a:xfrm>
        </p:spPr>
        <p:txBody>
          <a:bodyPr vert="horz"/>
          <a:lstStyle/>
          <a:p>
            <a:r>
              <a:rPr lang="de-DE" noProof="0"/>
              <a:t>Agenda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8C1F32C-02D7-794D-3C5B-2BB612860B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noProof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E6C417A-DA92-43CE-A352-26BD9888D346}"/>
              </a:ext>
            </a:extLst>
          </p:cNvPr>
          <p:cNvSpPr txBox="1">
            <a:spLocks/>
          </p:cNvSpPr>
          <p:nvPr/>
        </p:nvSpPr>
        <p:spPr>
          <a:xfrm>
            <a:off x="482017" y="4727553"/>
            <a:ext cx="3145515" cy="7846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defTabSz="914126">
              <a:spcAft>
                <a:spcPts val="600"/>
              </a:spcAft>
            </a:pPr>
            <a:r>
              <a:rPr lang="de-DE" sz="1799" b="1" noProof="0">
                <a:solidFill>
                  <a:prstClr val="black"/>
                </a:solidFill>
                <a:latin typeface="Sen ExtraBold" pitchFamily="2" charset="0"/>
              </a:rPr>
              <a:t>SPEC-DRIVEN</a:t>
            </a:r>
          </a:p>
          <a:p>
            <a:r>
              <a:rPr lang="de-DE" sz="1400" noProof="0">
                <a:ea typeface="Inter" pitchFamily="34" charset="-122"/>
                <a:cs typeface="Inter" pitchFamily="34" charset="-120"/>
              </a:rPr>
              <a:t>Präzision als Erfolgsfaktor</a:t>
            </a:r>
            <a:endParaRPr lang="de-DE" sz="1400" noProof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8CA1E4-87F8-735B-61B2-AF4662BA79B4}"/>
              </a:ext>
            </a:extLst>
          </p:cNvPr>
          <p:cNvSpPr txBox="1">
            <a:spLocks/>
          </p:cNvSpPr>
          <p:nvPr/>
        </p:nvSpPr>
        <p:spPr>
          <a:xfrm>
            <a:off x="4527297" y="4727553"/>
            <a:ext cx="3145515" cy="7846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defTabSz="914126">
              <a:spcAft>
                <a:spcPts val="600"/>
              </a:spcAft>
            </a:pPr>
            <a:r>
              <a:rPr lang="de-DE" sz="1799" b="1" noProof="0">
                <a:solidFill>
                  <a:prstClr val="black"/>
                </a:solidFill>
                <a:latin typeface="Sen ExtraBold" pitchFamily="2" charset="0"/>
              </a:rPr>
              <a:t>IMPACT</a:t>
            </a:r>
          </a:p>
          <a:p>
            <a:r>
              <a:rPr lang="de-DE" sz="1400" noProof="0">
                <a:ea typeface="Inter" pitchFamily="34" charset="-122"/>
                <a:cs typeface="Inter" pitchFamily="34" charset="-120"/>
              </a:rPr>
              <a:t>Business Impact &amp; Transparenz</a:t>
            </a:r>
            <a:endParaRPr lang="de-DE" sz="1400" noProof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D6B2BCC-E7C3-7858-28E4-280920832DF4}"/>
              </a:ext>
            </a:extLst>
          </p:cNvPr>
          <p:cNvSpPr txBox="1">
            <a:spLocks/>
          </p:cNvSpPr>
          <p:nvPr/>
        </p:nvSpPr>
        <p:spPr>
          <a:xfrm>
            <a:off x="8572577" y="4727553"/>
            <a:ext cx="3145515" cy="7846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defTabSz="914126">
              <a:spcAft>
                <a:spcPts val="600"/>
              </a:spcAft>
            </a:pPr>
            <a:r>
              <a:rPr lang="de-DE" sz="1799" b="1" noProof="0">
                <a:solidFill>
                  <a:prstClr val="black"/>
                </a:solidFill>
                <a:latin typeface="Sen ExtraBold" pitchFamily="2" charset="0"/>
              </a:rPr>
              <a:t>Q&amp;A</a:t>
            </a:r>
          </a:p>
          <a:p>
            <a:r>
              <a:rPr lang="de-DE" sz="1400" noProof="0">
                <a:ea typeface="Inter" pitchFamily="34" charset="-122"/>
                <a:cs typeface="Inter" pitchFamily="34" charset="-120"/>
              </a:rPr>
              <a:t>Fragen, Diskussion, Impulse</a:t>
            </a:r>
            <a:endParaRPr lang="de-DE" sz="1400" noProof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B0FAC29-975B-19DA-0EAB-06699DCC9410}"/>
              </a:ext>
            </a:extLst>
          </p:cNvPr>
          <p:cNvSpPr txBox="1">
            <a:spLocks/>
          </p:cNvSpPr>
          <p:nvPr/>
        </p:nvSpPr>
        <p:spPr>
          <a:xfrm>
            <a:off x="482017" y="3980096"/>
            <a:ext cx="3145515" cy="67693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defTabSz="914126">
              <a:spcAft>
                <a:spcPts val="600"/>
              </a:spcAft>
            </a:pPr>
            <a:r>
              <a:rPr lang="de-DE" sz="4399" b="1" noProof="0">
                <a:solidFill>
                  <a:prstClr val="black"/>
                </a:solidFill>
                <a:latin typeface="Bandeins Strange"/>
              </a:rPr>
              <a:t>03</a:t>
            </a:r>
            <a:endParaRPr lang="de-DE" sz="3599" noProof="0">
              <a:solidFill>
                <a:prstClr val="black"/>
              </a:solidFill>
              <a:latin typeface="Bandeins Strange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967D168-ACBF-6D29-CC89-EC06380E4A66}"/>
              </a:ext>
            </a:extLst>
          </p:cNvPr>
          <p:cNvSpPr txBox="1">
            <a:spLocks/>
          </p:cNvSpPr>
          <p:nvPr/>
        </p:nvSpPr>
        <p:spPr>
          <a:xfrm>
            <a:off x="4527297" y="3980096"/>
            <a:ext cx="3145515" cy="67693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defTabSz="914126">
              <a:spcAft>
                <a:spcPts val="600"/>
              </a:spcAft>
            </a:pPr>
            <a:r>
              <a:rPr lang="de-DE" sz="4399" b="1" noProof="0">
                <a:solidFill>
                  <a:prstClr val="black"/>
                </a:solidFill>
                <a:latin typeface="Bandeins Strange"/>
              </a:rPr>
              <a:t>04</a:t>
            </a:r>
            <a:endParaRPr lang="de-DE" sz="3599" noProof="0">
              <a:solidFill>
                <a:prstClr val="black"/>
              </a:solidFill>
              <a:latin typeface="Bandeins Strange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9A4FB3E-2D69-5A14-AFB5-F6587B2395C0}"/>
              </a:ext>
            </a:extLst>
          </p:cNvPr>
          <p:cNvSpPr txBox="1">
            <a:spLocks/>
          </p:cNvSpPr>
          <p:nvPr/>
        </p:nvSpPr>
        <p:spPr>
          <a:xfrm>
            <a:off x="8572577" y="3980096"/>
            <a:ext cx="3145515" cy="67693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defTabSz="914126">
              <a:spcAft>
                <a:spcPts val="600"/>
              </a:spcAft>
            </a:pPr>
            <a:r>
              <a:rPr lang="de-DE" sz="4399" b="1" noProof="0">
                <a:solidFill>
                  <a:prstClr val="black"/>
                </a:solidFill>
                <a:latin typeface="Bandeins Strange"/>
              </a:rPr>
              <a:t>05</a:t>
            </a:r>
            <a:endParaRPr lang="de-DE" sz="3599" noProof="0">
              <a:solidFill>
                <a:prstClr val="black"/>
              </a:solidFill>
              <a:latin typeface="Bandeins Strange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D449483-F9EF-1119-B37F-E8F325101B42}"/>
              </a:ext>
            </a:extLst>
          </p:cNvPr>
          <p:cNvSpPr txBox="1">
            <a:spLocks/>
          </p:cNvSpPr>
          <p:nvPr/>
        </p:nvSpPr>
        <p:spPr>
          <a:xfrm>
            <a:off x="4517061" y="2532412"/>
            <a:ext cx="3145515" cy="7846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defTabSz="914126">
              <a:spcAft>
                <a:spcPts val="600"/>
              </a:spcAft>
            </a:pPr>
            <a:r>
              <a:rPr lang="de-DE" sz="1799" b="1" noProof="0">
                <a:solidFill>
                  <a:prstClr val="black"/>
                </a:solidFill>
                <a:latin typeface="Sen ExtraBold" pitchFamily="2" charset="0"/>
              </a:rPr>
              <a:t>DIAGNOSE</a:t>
            </a:r>
          </a:p>
          <a:p>
            <a:r>
              <a:rPr lang="de-DE" sz="1400" noProof="0">
                <a:ea typeface="Inter" pitchFamily="34" charset="-122"/>
                <a:cs typeface="Inter" pitchFamily="34" charset="-120"/>
              </a:rPr>
              <a:t>Hype vs. Realität — wo stehen wir?</a:t>
            </a:r>
            <a:endParaRPr lang="de-DE" sz="1400" noProof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12264DA1-79A6-BF03-BC7E-6B8869A65DC0}"/>
              </a:ext>
            </a:extLst>
          </p:cNvPr>
          <p:cNvSpPr txBox="1">
            <a:spLocks/>
          </p:cNvSpPr>
          <p:nvPr/>
        </p:nvSpPr>
        <p:spPr>
          <a:xfrm>
            <a:off x="8562341" y="2532412"/>
            <a:ext cx="3145515" cy="7846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defTabSz="914126">
              <a:spcAft>
                <a:spcPts val="600"/>
              </a:spcAft>
            </a:pPr>
            <a:r>
              <a:rPr lang="de-DE" sz="1799" b="1" noProof="0">
                <a:solidFill>
                  <a:prstClr val="black"/>
                </a:solidFill>
                <a:latin typeface="Sen ExtraBold" pitchFamily="2" charset="0"/>
              </a:rPr>
              <a:t>STRATEGIE</a:t>
            </a:r>
          </a:p>
          <a:p>
            <a:r>
              <a:rPr lang="de-DE" sz="1400" noProof="0">
                <a:ea typeface="Inter" pitchFamily="34" charset="-122"/>
                <a:cs typeface="Inter" pitchFamily="34" charset="-120"/>
              </a:rPr>
              <a:t>Warum Tool-Wahl allein nicht reicht</a:t>
            </a:r>
            <a:endParaRPr lang="de-DE" sz="1400" noProof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C55D1826-2F00-7F36-7E13-13DFEC16C4D7}"/>
              </a:ext>
            </a:extLst>
          </p:cNvPr>
          <p:cNvSpPr txBox="1">
            <a:spLocks/>
          </p:cNvSpPr>
          <p:nvPr/>
        </p:nvSpPr>
        <p:spPr>
          <a:xfrm>
            <a:off x="4517061" y="1784956"/>
            <a:ext cx="3145515" cy="67693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defTabSz="914126">
              <a:spcAft>
                <a:spcPts val="600"/>
              </a:spcAft>
            </a:pPr>
            <a:r>
              <a:rPr lang="de-DE" sz="4399" b="1" noProof="0">
                <a:solidFill>
                  <a:prstClr val="black"/>
                </a:solidFill>
                <a:latin typeface="Bandeins Strange"/>
              </a:rPr>
              <a:t>01</a:t>
            </a:r>
            <a:endParaRPr lang="de-DE" sz="3599" noProof="0">
              <a:solidFill>
                <a:prstClr val="black"/>
              </a:solidFill>
              <a:latin typeface="Bandeins Strange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2254640-B53C-03E0-1CBC-118C7514FCC2}"/>
              </a:ext>
            </a:extLst>
          </p:cNvPr>
          <p:cNvSpPr txBox="1">
            <a:spLocks/>
          </p:cNvSpPr>
          <p:nvPr/>
        </p:nvSpPr>
        <p:spPr>
          <a:xfrm>
            <a:off x="8562341" y="1784956"/>
            <a:ext cx="3145515" cy="67693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defTabSz="914126">
              <a:spcAft>
                <a:spcPts val="600"/>
              </a:spcAft>
            </a:pPr>
            <a:r>
              <a:rPr lang="de-DE" sz="4399" b="1" noProof="0">
                <a:solidFill>
                  <a:prstClr val="black"/>
                </a:solidFill>
                <a:latin typeface="Bandeins Strange"/>
              </a:rPr>
              <a:t>02</a:t>
            </a:r>
            <a:endParaRPr lang="de-DE" sz="3599" noProof="0">
              <a:solidFill>
                <a:prstClr val="black"/>
              </a:solidFill>
              <a:latin typeface="Bandeins Strange"/>
            </a:endParaRPr>
          </a:p>
        </p:txBody>
      </p:sp>
      <p:sp>
        <p:nvSpPr>
          <p:cNvPr id="28" name="Fußzeilenplatzhalter 27">
            <a:extLst>
              <a:ext uri="{FF2B5EF4-FFF2-40B4-BE49-F238E27FC236}">
                <a16:creationId xmlns:a16="http://schemas.microsoft.com/office/drawing/2014/main" id="{8A186446-A334-0837-8E19-0FC358838E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>
                <a:latin typeface="Sen ExtraBold" pitchFamily="2" charset="0"/>
              </a:rPr>
              <a:t>Exxeta x OTTO | trade/off Summit | Heidelberg</a:t>
            </a:r>
          </a:p>
        </p:txBody>
      </p:sp>
    </p:spTree>
    <p:extLst>
      <p:ext uri="{BB962C8B-B14F-4D97-AF65-F5344CB8AC3E}">
        <p14:creationId xmlns:p14="http://schemas.microsoft.com/office/powerpoint/2010/main" val="39984136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C360DC-FED2-9C31-0CC0-DEA2F061A8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693B04DF-EE09-03DF-361F-1F29D0E2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17" y="695658"/>
            <a:ext cx="5274177" cy="5423454"/>
          </a:xfrm>
        </p:spPr>
        <p:txBody>
          <a:bodyPr anchor="ctr">
            <a:normAutofit/>
          </a:bodyPr>
          <a:lstStyle/>
          <a:p>
            <a:r>
              <a:rPr lang="de-DE" noProof="0"/>
              <a:t>3 Takeaway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6F824AE-EB8B-5E4A-3733-B2390E9212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6444" y="0"/>
            <a:ext cx="61863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1783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CF5C1B-9192-CF6E-776D-2C1108CAC8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FC4C8A-2AED-CA51-6366-6AE4A106C8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n ExtraBold"/>
                <a:ea typeface="+mn-ea"/>
                <a:cs typeface="Arial" panose="020B0604020202020204" pitchFamily="34" charset="0"/>
              </a:rPr>
              <a:t>Exxeta x OTTO | trade/off Summit | Heidelberg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901CF102-22D8-C573-6DFB-4FE6A745A3AC}"/>
              </a:ext>
            </a:extLst>
          </p:cNvPr>
          <p:cNvSpPr/>
          <p:nvPr/>
        </p:nvSpPr>
        <p:spPr>
          <a:xfrm>
            <a:off x="6088873" y="893"/>
            <a:ext cx="6099952" cy="645785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2DE7B4A-D114-B2DC-0699-D1D6F7230B70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40648" y="1521437"/>
            <a:ext cx="2873081" cy="3519810"/>
          </a:xfrm>
          <a:prstGeom prst="rect">
            <a:avLst/>
          </a:prstGeom>
        </p:spPr>
      </p:pic>
      <p:sp>
        <p:nvSpPr>
          <p:cNvPr id="6" name="Titel 2">
            <a:extLst>
              <a:ext uri="{FF2B5EF4-FFF2-40B4-BE49-F238E27FC236}">
                <a16:creationId xmlns:a16="http://schemas.microsoft.com/office/drawing/2014/main" id="{DCD3CB7D-8985-46F9-6631-41C6A0DECC97}"/>
              </a:ext>
            </a:extLst>
          </p:cNvPr>
          <p:cNvSpPr txBox="1">
            <a:spLocks/>
          </p:cNvSpPr>
          <p:nvPr/>
        </p:nvSpPr>
        <p:spPr>
          <a:xfrm>
            <a:off x="6656394" y="893"/>
            <a:ext cx="5279947" cy="64578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Bandeins Strange" pitchFamily="2" charset="0"/>
                <a:ea typeface="+mj-ea"/>
                <a:cs typeface="+mj-cs"/>
              </a:defRPr>
            </a:lvl1pPr>
          </a:lstStyle>
          <a:p>
            <a:r>
              <a:rPr lang="de-DE" sz="3200" noProof="0">
                <a:solidFill>
                  <a:schemeClr val="bg1"/>
                </a:solidFill>
                <a:ea typeface="Inter" pitchFamily="34" charset="-122"/>
                <a:cs typeface="Inter" pitchFamily="34" charset="-120"/>
              </a:rPr>
              <a:t>Struktur &gt; Tool </a:t>
            </a:r>
          </a:p>
          <a:p>
            <a:r>
              <a:rPr lang="de-DE" sz="3200" noProof="0" err="1">
                <a:solidFill>
                  <a:schemeClr val="bg1"/>
                </a:solidFill>
                <a:ea typeface="Inter" pitchFamily="34" charset="-122"/>
                <a:cs typeface="Inter" pitchFamily="34" charset="-120"/>
              </a:rPr>
              <a:t>Agents</a:t>
            </a:r>
            <a:r>
              <a:rPr lang="de-DE" sz="3200" noProof="0">
                <a:solidFill>
                  <a:schemeClr val="bg1"/>
                </a:solidFill>
                <a:ea typeface="Inter" pitchFamily="34" charset="-122"/>
                <a:cs typeface="Inter" pitchFamily="34" charset="-120"/>
              </a:rPr>
              <a:t> müssen geführt werden</a:t>
            </a:r>
            <a:endParaRPr lang="de-DE" sz="32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35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8856E-31FA-6253-CCB8-3FE5F9E99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FA6020A-4FEA-B254-051A-7137896F19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n ExtraBold"/>
                <a:ea typeface="+mn-ea"/>
                <a:cs typeface="Arial" panose="020B0604020202020204" pitchFamily="34" charset="0"/>
              </a:rPr>
              <a:t>Exxeta x OTTO | trade/off Summit | Heidelberg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6015390-D645-6193-9EA4-7823C441E36A}"/>
              </a:ext>
            </a:extLst>
          </p:cNvPr>
          <p:cNvSpPr/>
          <p:nvPr/>
        </p:nvSpPr>
        <p:spPr>
          <a:xfrm>
            <a:off x="6088873" y="893"/>
            <a:ext cx="6099952" cy="645785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E3F3B5F5-D2C4-4BE5-B2A6-8D79B95C20A7}"/>
              </a:ext>
            </a:extLst>
          </p:cNvPr>
          <p:cNvSpPr txBox="1">
            <a:spLocks/>
          </p:cNvSpPr>
          <p:nvPr/>
        </p:nvSpPr>
        <p:spPr>
          <a:xfrm>
            <a:off x="6656394" y="893"/>
            <a:ext cx="5279947" cy="64578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Bandeins Strange" pitchFamily="2" charset="0"/>
                <a:ea typeface="+mj-ea"/>
                <a:cs typeface="+mj-cs"/>
              </a:defRPr>
            </a:lvl1pPr>
          </a:lstStyle>
          <a:p>
            <a:r>
              <a:rPr lang="de-DE" sz="3200" noProof="0" err="1">
                <a:solidFill>
                  <a:schemeClr val="bg1"/>
                </a:solidFill>
                <a:ea typeface="Inter" pitchFamily="34" charset="-122"/>
                <a:cs typeface="Inter" pitchFamily="34" charset="-120"/>
              </a:rPr>
              <a:t>Specs</a:t>
            </a:r>
            <a:r>
              <a:rPr lang="de-DE" sz="3200" noProof="0">
                <a:solidFill>
                  <a:schemeClr val="bg1"/>
                </a:solidFill>
                <a:ea typeface="Inter" pitchFamily="34" charset="-122"/>
                <a:cs typeface="Inter" pitchFamily="34" charset="-120"/>
              </a:rPr>
              <a:t> sind das neue Interface — nicht Prompts</a:t>
            </a:r>
            <a:endParaRPr lang="de-DE" sz="3200" noProof="0">
              <a:solidFill>
                <a:schemeClr val="bg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FA17D65-5C11-63C8-759C-57CAE677F42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3375" y="450574"/>
            <a:ext cx="4024729" cy="4636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658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F97189-3396-4C85-32AB-D1AE818F32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E3391F8-8054-8443-BA66-C5C6F1553E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n ExtraBold"/>
                <a:ea typeface="+mn-ea"/>
                <a:cs typeface="Arial" panose="020B0604020202020204" pitchFamily="34" charset="0"/>
              </a:rPr>
              <a:t>Exxeta x OTTO | trade/off Summit | Heidelberg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63DBFB4-76E5-72D2-CA92-34269E285969}"/>
              </a:ext>
            </a:extLst>
          </p:cNvPr>
          <p:cNvSpPr/>
          <p:nvPr/>
        </p:nvSpPr>
        <p:spPr>
          <a:xfrm>
            <a:off x="6088873" y="893"/>
            <a:ext cx="6099952" cy="645785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D8710330-F25E-F988-08AA-265EC6801790}"/>
              </a:ext>
            </a:extLst>
          </p:cNvPr>
          <p:cNvSpPr txBox="1">
            <a:spLocks/>
          </p:cNvSpPr>
          <p:nvPr/>
        </p:nvSpPr>
        <p:spPr>
          <a:xfrm>
            <a:off x="6656394" y="893"/>
            <a:ext cx="5279947" cy="64578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Bandeins Strange" pitchFamily="2" charset="0"/>
                <a:ea typeface="+mj-ea"/>
                <a:cs typeface="+mj-cs"/>
              </a:defRPr>
            </a:lvl1pPr>
          </a:lstStyle>
          <a:p>
            <a:r>
              <a:rPr lang="de-DE" sz="3200" noProof="0">
                <a:solidFill>
                  <a:schemeClr val="bg1"/>
                </a:solidFill>
                <a:ea typeface="Inter" pitchFamily="34" charset="-122"/>
                <a:cs typeface="Inter" pitchFamily="34" charset="-120"/>
              </a:rPr>
              <a:t>Menschen bleiben kritisch — HITL, Review, </a:t>
            </a:r>
            <a:r>
              <a:rPr lang="de-DE" sz="3200" noProof="0" err="1">
                <a:solidFill>
                  <a:schemeClr val="bg1"/>
                </a:solidFill>
                <a:ea typeface="Inter" pitchFamily="34" charset="-122"/>
                <a:cs typeface="Inter" pitchFamily="34" charset="-120"/>
              </a:rPr>
              <a:t>Governance</a:t>
            </a:r>
            <a:endParaRPr lang="de-DE" sz="3200" noProof="0">
              <a:solidFill>
                <a:schemeClr val="bg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EC33CEB-E3DF-10DD-1A89-2B9A575CF7EF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-633662" y="-232709"/>
            <a:ext cx="7351004" cy="7351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1782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0F1A24C-9197-74DF-B691-A96751C5E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9">
            <a:extLst>
              <a:ext uri="{FF2B5EF4-FFF2-40B4-BE49-F238E27FC236}">
                <a16:creationId xmlns:a16="http://schemas.microsoft.com/office/drawing/2014/main" id="{C67A1755-BFE4-16CB-A989-A574D509CB87}"/>
              </a:ext>
            </a:extLst>
          </p:cNvPr>
          <p:cNvSpPr txBox="1">
            <a:spLocks/>
          </p:cNvSpPr>
          <p:nvPr/>
        </p:nvSpPr>
        <p:spPr>
          <a:xfrm>
            <a:off x="2854327" y="2715044"/>
            <a:ext cx="8262852" cy="1427913"/>
          </a:xfrm>
          <a:prstGeom prst="rect">
            <a:avLst/>
          </a:prstGeom>
        </p:spPr>
        <p:txBody>
          <a:bodyPr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5998" b="1" i="0" kern="1200" cap="none" baseline="0">
                <a:solidFill>
                  <a:schemeClr val="tx1"/>
                </a:solidFill>
                <a:latin typeface="Bandeins Strange" pitchFamily="2" charset="0"/>
                <a:ea typeface="+mj-ea"/>
                <a:cs typeface="+mj-cs"/>
              </a:defRPr>
            </a:lvl1pPr>
          </a:lstStyle>
          <a:p>
            <a:r>
              <a:rPr lang="de-DE" sz="4400" noProof="0">
                <a:solidFill>
                  <a:schemeClr val="bg1"/>
                </a:solidFill>
              </a:rPr>
              <a:t>Fragen? Diskussion. Impulse.</a:t>
            </a:r>
            <a:br>
              <a:rPr lang="de-DE" sz="4400" noProof="0">
                <a:solidFill>
                  <a:schemeClr val="bg1"/>
                </a:solidFill>
              </a:rPr>
            </a:br>
            <a:r>
              <a:rPr lang="de-DE" sz="4400" noProof="0" err="1">
                <a:solidFill>
                  <a:schemeClr val="bg1"/>
                </a:solidFill>
              </a:rPr>
              <a:t>Let‘s</a:t>
            </a:r>
            <a:r>
              <a:rPr lang="de-DE" sz="4400" noProof="0">
                <a:solidFill>
                  <a:schemeClr val="bg1"/>
                </a:solidFill>
              </a:rPr>
              <a:t> Go!</a:t>
            </a:r>
          </a:p>
        </p:txBody>
      </p:sp>
      <p:pic>
        <p:nvPicPr>
          <p:cNvPr id="9" name="Grafik 8" descr="Ein Bild, das Silhouette, Vektorgrafiken enthält.&#10;&#10;Automatisch generierte Beschreibung">
            <a:extLst>
              <a:ext uri="{FF2B5EF4-FFF2-40B4-BE49-F238E27FC236}">
                <a16:creationId xmlns:a16="http://schemas.microsoft.com/office/drawing/2014/main" id="{5D0BDFD1-3646-ECC6-13E0-0A5E3C4512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330" r="23705"/>
          <a:stretch/>
        </p:blipFill>
        <p:spPr>
          <a:xfrm>
            <a:off x="413913" y="1916"/>
            <a:ext cx="3308775" cy="7045265"/>
          </a:xfrm>
          <a:prstGeom prst="rect">
            <a:avLst/>
          </a:prstGeom>
        </p:spPr>
      </p:pic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9C956ED2-E612-A8E7-2F8B-0DEEA87E2B11}"/>
              </a:ext>
            </a:extLst>
          </p:cNvPr>
          <p:cNvCxnSpPr/>
          <p:nvPr/>
        </p:nvCxnSpPr>
        <p:spPr>
          <a:xfrm>
            <a:off x="10566626" y="6198273"/>
            <a:ext cx="260476" cy="26047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3A609BF2-7862-E482-9182-5508E8A323B8}"/>
              </a:ext>
            </a:extLst>
          </p:cNvPr>
          <p:cNvCxnSpPr>
            <a:cxnSpLocks/>
          </p:cNvCxnSpPr>
          <p:nvPr/>
        </p:nvCxnSpPr>
        <p:spPr>
          <a:xfrm flipH="1">
            <a:off x="10566626" y="6198273"/>
            <a:ext cx="260476" cy="26047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592894D5-4290-6C8F-F19A-6C37D40717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04140" y="6198273"/>
            <a:ext cx="770772" cy="260476"/>
          </a:xfrm>
          <a:prstGeom prst="rect">
            <a:avLst/>
          </a:prstGeom>
        </p:spPr>
      </p:pic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AEBAB320-89D7-BEFF-4B57-9E62D3F1C503}"/>
              </a:ext>
            </a:extLst>
          </p:cNvPr>
          <p:cNvSpPr txBox="1">
            <a:spLocks/>
          </p:cNvSpPr>
          <p:nvPr/>
        </p:nvSpPr>
        <p:spPr bwMode="gray">
          <a:xfrm>
            <a:off x="8993722" y="6198994"/>
            <a:ext cx="1281266" cy="260544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56950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B8F8AB58-6F68-F42B-2AB0-08BBF2851F5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673" r="6405"/>
          <a:stretch>
            <a:fillRect/>
          </a:stretch>
        </p:blipFill>
        <p:spPr>
          <a:xfrm>
            <a:off x="6105777" y="0"/>
            <a:ext cx="6115055" cy="685800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2EF580EE-4C17-AEAF-0859-48A0ACF1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17" y="695658"/>
            <a:ext cx="5274177" cy="5423454"/>
          </a:xfrm>
        </p:spPr>
        <p:txBody>
          <a:bodyPr anchor="ctr">
            <a:normAutofit/>
          </a:bodyPr>
          <a:lstStyle/>
          <a:p>
            <a:r>
              <a:rPr lang="de-DE" noProof="0"/>
              <a:t>Diagnos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1390594-ED19-102A-6470-2C2FD7D101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1479" y="203199"/>
            <a:ext cx="5291452" cy="345510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de-DE" noProof="0"/>
              <a:t>01</a:t>
            </a:r>
          </a:p>
        </p:txBody>
      </p:sp>
      <p:sp>
        <p:nvSpPr>
          <p:cNvPr id="2" name="Textplatzhalter 11">
            <a:extLst>
              <a:ext uri="{FF2B5EF4-FFF2-40B4-BE49-F238E27FC236}">
                <a16:creationId xmlns:a16="http://schemas.microsoft.com/office/drawing/2014/main" id="{7D7B8AE5-051E-F6C3-28B8-6405D32807E8}"/>
              </a:ext>
            </a:extLst>
          </p:cNvPr>
          <p:cNvSpPr txBox="1">
            <a:spLocks/>
          </p:cNvSpPr>
          <p:nvPr/>
        </p:nvSpPr>
        <p:spPr>
          <a:xfrm>
            <a:off x="401584" y="4034130"/>
            <a:ext cx="5292830" cy="345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130000"/>
              </a:lnSpc>
              <a:spcBef>
                <a:spcPts val="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400" indent="-18000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800" indent="-18000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1600" indent="-18000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noProof="0"/>
              <a:t>Hype vs. Realität — wo stehen wir wirklich?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70756D6-7BE0-BC8A-79E2-F95382AD763C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91684" y="2718698"/>
            <a:ext cx="817424" cy="113292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10ABC86-55DA-FEE7-6C3B-78C7B2ACEFD8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55074" y="2695691"/>
            <a:ext cx="822204" cy="114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5975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454344-230A-5E1D-5CF5-994E4D6B8A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39E5D42B-8CCB-F3DC-CB96-FA2509041C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noProof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6E1D2615-E704-01DC-B580-EDD9FF72D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AI </a:t>
            </a:r>
            <a:r>
              <a:rPr lang="de-DE" noProof="0" err="1"/>
              <a:t>Agents</a:t>
            </a:r>
            <a:r>
              <a:rPr lang="de-DE" noProof="0"/>
              <a:t> sind gekommen, </a:t>
            </a:r>
            <a:br>
              <a:rPr lang="de-DE" noProof="0"/>
            </a:br>
            <a:r>
              <a:rPr lang="de-DE" noProof="0"/>
              <a:t>um zu bleiben</a:t>
            </a:r>
            <a:br>
              <a:rPr lang="de-DE" noProof="0"/>
            </a:br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0146A2-57F5-C947-B086-FAA12B8540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>
                <a:latin typeface="Sen ExtraBold"/>
              </a:rPr>
              <a:t>Exxeta x OTTO | trade/off Summit | Heidelber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4E62B31-4866-7A19-C70B-DA16D08700C9}"/>
              </a:ext>
            </a:extLst>
          </p:cNvPr>
          <p:cNvSpPr/>
          <p:nvPr/>
        </p:nvSpPr>
        <p:spPr>
          <a:xfrm>
            <a:off x="6088873" y="893"/>
            <a:ext cx="6099952" cy="645785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BC1855AB-CDDB-2D35-8253-4D4E0AED2442}"/>
              </a:ext>
            </a:extLst>
          </p:cNvPr>
          <p:cNvSpPr txBox="1">
            <a:spLocks/>
          </p:cNvSpPr>
          <p:nvPr/>
        </p:nvSpPr>
        <p:spPr>
          <a:xfrm>
            <a:off x="6656394" y="1374055"/>
            <a:ext cx="5279947" cy="5084694"/>
          </a:xfrm>
          <a:prstGeom prst="rect">
            <a:avLst/>
          </a:prstGeom>
        </p:spPr>
        <p:txBody>
          <a:bodyPr vert="horz" lIns="0" tIns="540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Bandeins Strange" pitchFamily="2" charset="0"/>
                <a:ea typeface="+mj-ea"/>
                <a:cs typeface="+mj-cs"/>
              </a:defRPr>
            </a:lvl1pPr>
          </a:lstStyle>
          <a:p>
            <a:endParaRPr lang="de-DE" sz="1800" b="0" noProof="0" dirty="0">
              <a:solidFill>
                <a:schemeClr val="bg1"/>
              </a:solidFill>
              <a:latin typeface="+mn-lt"/>
            </a:endParaRPr>
          </a:p>
          <a:p>
            <a:pPr marL="285750" indent="-285750">
              <a:lnSpc>
                <a:spcPct val="13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de-DE" sz="1800" b="0" noProof="0" dirty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Cursor &amp; Claude Code: </a:t>
            </a:r>
            <a:br>
              <a:rPr lang="de-DE" sz="1800" b="0" noProof="0" dirty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</a:br>
            <a:r>
              <a:rPr lang="de-DE" sz="1800" b="0" noProof="0" dirty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im neuesten TW Tech Radar auf </a:t>
            </a:r>
            <a:r>
              <a:rPr lang="de-DE" sz="1800" b="0" noProof="0" dirty="0" err="1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Adpot</a:t>
            </a:r>
            <a:endParaRPr lang="de-DE" sz="1800" b="0" noProof="0" dirty="0">
              <a:solidFill>
                <a:schemeClr val="bg1"/>
              </a:solidFill>
              <a:latin typeface="+mn-lt"/>
              <a:ea typeface="Inter" pitchFamily="34" charset="-122"/>
              <a:cs typeface="Inter" pitchFamily="34" charset="-120"/>
            </a:endParaRPr>
          </a:p>
          <a:p>
            <a:pPr marL="285750" indent="-285750">
              <a:lnSpc>
                <a:spcPct val="13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de-DE" sz="1800" b="0" noProof="0" dirty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AI-Tools haben den Tech Radar erobert</a:t>
            </a:r>
            <a:endParaRPr lang="de-DE" sz="1800" b="0" noProof="0" dirty="0">
              <a:solidFill>
                <a:schemeClr val="bg1"/>
              </a:solidFill>
              <a:latin typeface="+mn-lt"/>
            </a:endParaRPr>
          </a:p>
          <a:p>
            <a:pPr marL="285750" indent="-285750">
              <a:lnSpc>
                <a:spcPct val="13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de-DE" sz="1800" b="0" noProof="0" dirty="0">
                <a:solidFill>
                  <a:schemeClr val="bg1"/>
                </a:solidFill>
                <a:latin typeface="+mn-lt"/>
                <a:ea typeface="Inter" pitchFamily="34" charset="-122"/>
                <a:cs typeface="Inter" pitchFamily="34" charset="-120"/>
              </a:rPr>
              <a:t>LinkedIn ist voll mit Agent-Hype</a:t>
            </a:r>
          </a:p>
          <a:p>
            <a:pPr marL="285750" indent="-285750">
              <a:lnSpc>
                <a:spcPct val="13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endParaRPr lang="de-DE" sz="1800" b="0" noProof="0" dirty="0">
              <a:solidFill>
                <a:schemeClr val="bg1"/>
              </a:solidFill>
              <a:latin typeface="+mn-lt"/>
              <a:ea typeface="Inter" pitchFamily="34" charset="-122"/>
            </a:endParaRPr>
          </a:p>
          <a:p>
            <a:pPr marL="285750" indent="-285750">
              <a:lnSpc>
                <a:spcPct val="13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de-DE" sz="1800" b="0" noProof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6180D5F-BDBE-520C-8EFD-8C4FBED1C6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7184" y="1743481"/>
            <a:ext cx="4476794" cy="4476794"/>
          </a:xfrm>
          <a:prstGeom prst="rect">
            <a:avLst/>
          </a:prstGeom>
        </p:spPr>
      </p:pic>
      <p:sp>
        <p:nvSpPr>
          <p:cNvPr id="17" name="Titel 9">
            <a:extLst>
              <a:ext uri="{FF2B5EF4-FFF2-40B4-BE49-F238E27FC236}">
                <a16:creationId xmlns:a16="http://schemas.microsoft.com/office/drawing/2014/main" id="{2314288B-2540-34C8-9C3C-76705CE085B1}"/>
              </a:ext>
            </a:extLst>
          </p:cNvPr>
          <p:cNvSpPr txBox="1">
            <a:spLocks/>
          </p:cNvSpPr>
          <p:nvPr/>
        </p:nvSpPr>
        <p:spPr>
          <a:xfrm>
            <a:off x="6412131" y="555464"/>
            <a:ext cx="5613525" cy="4616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12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799" b="1" i="0" kern="1200">
                <a:solidFill>
                  <a:schemeClr val="tx1"/>
                </a:solidFill>
                <a:latin typeface="Bandeins Strange" pitchFamily="2" charset="0"/>
                <a:ea typeface="+mj-ea"/>
                <a:cs typeface="+mj-cs"/>
              </a:defRPr>
            </a:lvl1pPr>
          </a:lstStyle>
          <a:p>
            <a:r>
              <a:rPr lang="de-DE" noProof="0">
                <a:solidFill>
                  <a:schemeClr val="bg1"/>
                </a:solidFill>
              </a:rPr>
              <a:t>Keine Frage ob, sondern wie</a:t>
            </a:r>
          </a:p>
        </p:txBody>
      </p:sp>
    </p:spTree>
    <p:extLst>
      <p:ext uri="{BB962C8B-B14F-4D97-AF65-F5344CB8AC3E}">
        <p14:creationId xmlns:p14="http://schemas.microsoft.com/office/powerpoint/2010/main" val="9704510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8221E90D-C088-484A-011F-614D1137C686}"/>
              </a:ext>
            </a:extLst>
          </p:cNvPr>
          <p:cNvSpPr/>
          <p:nvPr/>
        </p:nvSpPr>
        <p:spPr>
          <a:xfrm>
            <a:off x="-1" y="893"/>
            <a:ext cx="6094413" cy="6462179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B249933-3D6B-F453-068E-B32E5C78C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>
                <a:highlight>
                  <a:srgbClr val="FFFFFF"/>
                </a:highlight>
              </a:rPr>
              <a:t>Autonomie ≠ Produktivitä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FD6B00-B17B-72BB-71D6-F975B33006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 noProof="0">
                <a:latin typeface="Sen ExtraBold"/>
              </a:rPr>
              <a:t>Exxeta x OTTO | trade/off Summit | Heidelberg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B99C387-154B-F74C-E119-1485A1CB566E}"/>
              </a:ext>
            </a:extLst>
          </p:cNvPr>
          <p:cNvSpPr txBox="1"/>
          <p:nvPr/>
        </p:nvSpPr>
        <p:spPr>
          <a:xfrm>
            <a:off x="6589022" y="1991299"/>
            <a:ext cx="5105192" cy="172382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spcAft>
                <a:spcPts val="2399"/>
              </a:spcAft>
            </a:pPr>
            <a:r>
              <a:rPr lang="de-DE" sz="1799" b="1" noProof="0"/>
              <a:t>Nicht Autonomie ist der Hebel, sondern Klarheit.</a:t>
            </a:r>
          </a:p>
          <a:p>
            <a:pPr marL="285750" indent="-2857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de-DE" noProof="0">
                <a:ea typeface="Inter" pitchFamily="34" charset="-122"/>
                <a:cs typeface="Inter" pitchFamily="34" charset="-120"/>
              </a:rPr>
              <a:t>"Ich </a:t>
            </a:r>
            <a:r>
              <a:rPr lang="de-DE" noProof="0" err="1">
                <a:ea typeface="Inter" pitchFamily="34" charset="-122"/>
                <a:cs typeface="Inter" pitchFamily="34" charset="-120"/>
              </a:rPr>
              <a:t>geb</a:t>
            </a:r>
            <a:r>
              <a:rPr lang="de-DE" err="1">
                <a:ea typeface="Inter" pitchFamily="34" charset="-122"/>
                <a:cs typeface="Inter" pitchFamily="34" charset="-120"/>
              </a:rPr>
              <a:t>e</a:t>
            </a:r>
            <a:r>
              <a:rPr lang="de-DE">
                <a:ea typeface="Inter" pitchFamily="34" charset="-122"/>
                <a:cs typeface="Inter" pitchFamily="34" charset="-120"/>
              </a:rPr>
              <a:t> </a:t>
            </a:r>
            <a:r>
              <a:rPr lang="de-DE" noProof="0">
                <a:ea typeface="Inter" pitchFamily="34" charset="-122"/>
                <a:cs typeface="Inter" pitchFamily="34" charset="-120"/>
              </a:rPr>
              <a:t>dem Agent freie Hand, wird schon." — tut es nicht.</a:t>
            </a:r>
          </a:p>
          <a:p>
            <a:pPr marL="285750" indent="-285750">
              <a:lnSpc>
                <a:spcPts val="2200"/>
              </a:lnSpc>
              <a:buFont typeface="Arial" panose="020B0604020202020204" pitchFamily="34" charset="0"/>
              <a:buChar char="•"/>
            </a:pPr>
            <a:endParaRPr lang="de-DE" noProof="0">
              <a:ea typeface="Inter" pitchFamily="34" charset="-122"/>
            </a:endParaRPr>
          </a:p>
          <a:p>
            <a:pPr marL="285750" indent="-2857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de-DE" noProof="0">
                <a:ea typeface="Inter" pitchFamily="34" charset="-122"/>
                <a:cs typeface="Inter" pitchFamily="34" charset="-120"/>
              </a:rPr>
              <a:t>Ohne klaren Scope: Halluzinationen, Recovery-Loops, Kontext-Chaos</a:t>
            </a:r>
          </a:p>
          <a:p>
            <a:pPr marL="285750" indent="-285750">
              <a:lnSpc>
                <a:spcPts val="2200"/>
              </a:lnSpc>
              <a:buFont typeface="Arial" panose="020B0604020202020204" pitchFamily="34" charset="0"/>
              <a:buChar char="•"/>
            </a:pPr>
            <a:endParaRPr lang="de-DE" noProof="0">
              <a:ea typeface="Inter" pitchFamily="34" charset="-122"/>
            </a:endParaRPr>
          </a:p>
          <a:p>
            <a:pPr marL="285750" indent="-28575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de-DE" noProof="0">
                <a:ea typeface="Inter" pitchFamily="34" charset="-122"/>
                <a:cs typeface="Inter" pitchFamily="34" charset="-120"/>
              </a:rPr>
              <a:t>Mehr Autonomie → mehr Tokens → mehr Kosten → weniger Kontrolle</a:t>
            </a:r>
            <a:endParaRPr lang="de-DE" noProof="0"/>
          </a:p>
          <a:p>
            <a:pPr>
              <a:lnSpc>
                <a:spcPts val="2200"/>
              </a:lnSpc>
            </a:pPr>
            <a:endParaRPr lang="de-DE" noProof="0"/>
          </a:p>
          <a:p>
            <a:pPr>
              <a:lnSpc>
                <a:spcPts val="2200"/>
              </a:lnSpc>
            </a:pPr>
            <a:endParaRPr lang="de-DE" noProof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830B151-7DC1-2BFC-0FB3-0A87F21A03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167" y="1466460"/>
            <a:ext cx="3622970" cy="4497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069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1806791A-6D79-261E-5DB7-D8656CD83E35}"/>
              </a:ext>
            </a:extLst>
          </p:cNvPr>
          <p:cNvSpPr/>
          <p:nvPr/>
        </p:nvSpPr>
        <p:spPr>
          <a:xfrm>
            <a:off x="457200" y="1696453"/>
            <a:ext cx="11274552" cy="4114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7B61E19-7B53-2E4F-8624-9FD00361B0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noProof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0B368BA2-60A5-03A9-BE35-AEA5FADE9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Vibe Coding – Was wirklich passiert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4234FE-9B9B-1B88-780C-EE6F54A26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>
                <a:latin typeface="Sen ExtraBold"/>
              </a:rPr>
              <a:t>Exxeta x OTTO | trade/off Summit | Heidelberg</a:t>
            </a:r>
          </a:p>
        </p:txBody>
      </p:sp>
      <p:graphicFrame>
        <p:nvGraphicFramePr>
          <p:cNvPr id="12" name="Chart 0">
            <a:extLst>
              <a:ext uri="{FF2B5EF4-FFF2-40B4-BE49-F238E27FC236}">
                <a16:creationId xmlns:a16="http://schemas.microsoft.com/office/drawing/2014/main" id="{EAE1B9A7-FDD4-9A75-B101-C7FA577546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1344604"/>
              </p:ext>
            </p:extLst>
          </p:nvPr>
        </p:nvGraphicFramePr>
        <p:xfrm>
          <a:off x="457200" y="1696453"/>
          <a:ext cx="11274552" cy="41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02803F4A-4806-C3A5-979E-3F9C5BF312DF}"/>
              </a:ext>
            </a:extLst>
          </p:cNvPr>
          <p:cNvSpPr txBox="1"/>
          <p:nvPr/>
        </p:nvSpPr>
        <p:spPr>
          <a:xfrm>
            <a:off x="702643" y="6154832"/>
            <a:ext cx="2916455" cy="12311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tabLst>
                <a:tab pos="1108075" algn="l"/>
              </a:tabLst>
            </a:pPr>
            <a:r>
              <a:rPr lang="de-DE" sz="800" noProof="0"/>
              <a:t>Erzeugter Code	Verbrauchte Tokens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68A0B7-3C2D-8829-5FA0-8566497CFA7D}"/>
              </a:ext>
            </a:extLst>
          </p:cNvPr>
          <p:cNvSpPr/>
          <p:nvPr/>
        </p:nvSpPr>
        <p:spPr>
          <a:xfrm>
            <a:off x="478783" y="6156236"/>
            <a:ext cx="105878" cy="105878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C4F038B-4B79-CEEF-875A-854295055BDE}"/>
              </a:ext>
            </a:extLst>
          </p:cNvPr>
          <p:cNvSpPr/>
          <p:nvPr/>
        </p:nvSpPr>
        <p:spPr>
          <a:xfrm>
            <a:off x="1642564" y="6156236"/>
            <a:ext cx="105878" cy="105878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89439FF2-82B3-A5E4-2CC9-263657DD5BE6}"/>
              </a:ext>
            </a:extLst>
          </p:cNvPr>
          <p:cNvCxnSpPr/>
          <p:nvPr/>
        </p:nvCxnSpPr>
        <p:spPr>
          <a:xfrm>
            <a:off x="437640" y="6209175"/>
            <a:ext cx="183369" cy="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3F3360CF-E761-2365-8ABE-C304EA11AAD3}"/>
              </a:ext>
            </a:extLst>
          </p:cNvPr>
          <p:cNvCxnSpPr/>
          <p:nvPr/>
        </p:nvCxnSpPr>
        <p:spPr>
          <a:xfrm>
            <a:off x="1601422" y="6209175"/>
            <a:ext cx="183369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DB6B07E2-47BA-F607-05B7-E4BBB8EE83B2}"/>
              </a:ext>
            </a:extLst>
          </p:cNvPr>
          <p:cNvSpPr txBox="1"/>
          <p:nvPr/>
        </p:nvSpPr>
        <p:spPr>
          <a:xfrm>
            <a:off x="1324842" y="2181829"/>
            <a:ext cx="60994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800" b="1" noProof="0">
                <a:ea typeface="Inter" pitchFamily="34" charset="-122"/>
                <a:cs typeface="Inter" pitchFamily="34" charset="-120"/>
              </a:rPr>
              <a:t>Code wächst linear — der Token-Verbrauch explodiert gegen Ende.</a:t>
            </a:r>
            <a:endParaRPr lang="de-DE" sz="1800" b="1" noProof="0"/>
          </a:p>
        </p:txBody>
      </p:sp>
    </p:spTree>
    <p:extLst>
      <p:ext uri="{BB962C8B-B14F-4D97-AF65-F5344CB8AC3E}">
        <p14:creationId xmlns:p14="http://schemas.microsoft.com/office/powerpoint/2010/main" val="3884384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E60070-569D-C7E7-460C-779F545A8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4E8D3AF0-4FB8-2977-46B3-E8CEFECD4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17" y="695658"/>
            <a:ext cx="5274177" cy="5423454"/>
          </a:xfrm>
        </p:spPr>
        <p:txBody>
          <a:bodyPr anchor="ctr">
            <a:normAutofit/>
          </a:bodyPr>
          <a:lstStyle/>
          <a:p>
            <a:r>
              <a:rPr lang="de-DE" noProof="0"/>
              <a:t>Strategi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4E7F1B-9245-3779-C535-EA71566A2A7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1479" y="203199"/>
            <a:ext cx="5291452" cy="345510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de-DE" noProof="0"/>
              <a:t>02</a:t>
            </a:r>
          </a:p>
        </p:txBody>
      </p:sp>
      <p:sp>
        <p:nvSpPr>
          <p:cNvPr id="2" name="Textplatzhalter 11">
            <a:extLst>
              <a:ext uri="{FF2B5EF4-FFF2-40B4-BE49-F238E27FC236}">
                <a16:creationId xmlns:a16="http://schemas.microsoft.com/office/drawing/2014/main" id="{B851DCC8-AFC5-DCD0-ADB1-C4BA89249875}"/>
              </a:ext>
            </a:extLst>
          </p:cNvPr>
          <p:cNvSpPr txBox="1">
            <a:spLocks/>
          </p:cNvSpPr>
          <p:nvPr/>
        </p:nvSpPr>
        <p:spPr>
          <a:xfrm>
            <a:off x="401584" y="4034130"/>
            <a:ext cx="5292830" cy="345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130000"/>
              </a:lnSpc>
              <a:spcBef>
                <a:spcPts val="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400" indent="-18000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800" indent="-18000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1600" indent="-180000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noProof="0">
                <a:ea typeface="Inter" pitchFamily="34" charset="-122"/>
                <a:cs typeface="Inter" pitchFamily="34" charset="-120"/>
              </a:rPr>
              <a:t>Warum Tool-Wahl allein nicht reicht</a:t>
            </a:r>
            <a:endParaRPr lang="de-DE" noProof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AECF3ED-52B4-902C-154F-41AF756C460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2872" t="426" r="41238" b="32848"/>
          <a:stretch>
            <a:fillRect/>
          </a:stretch>
        </p:blipFill>
        <p:spPr>
          <a:xfrm>
            <a:off x="6107419" y="0"/>
            <a:ext cx="6094276" cy="687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8934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CCBDB1-A96B-8DB4-4D35-ABFB61CB18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BA69348E-2B86-887B-AAFF-96A48FFBF704}"/>
              </a:ext>
            </a:extLst>
          </p:cNvPr>
          <p:cNvSpPr/>
          <p:nvPr/>
        </p:nvSpPr>
        <p:spPr>
          <a:xfrm>
            <a:off x="-1" y="893"/>
            <a:ext cx="6094413" cy="6462179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algn="l"/>
            <a:endParaRPr lang="de-DE" sz="1100" noProof="0">
              <a:solidFill>
                <a:schemeClr val="tx1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FA05A7F-A9BD-F82B-2929-68BEBF86C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>
                <a:highlight>
                  <a:srgbClr val="FFFFFF"/>
                </a:highlight>
              </a:rPr>
              <a:t>Schatteneffekte von unkoordiniertem AI-Einsatz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7E8F40B-AF23-4D80-9540-7229B32BE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>
                <a:latin typeface="Sen ExtraBold"/>
              </a:rPr>
              <a:t>Exxeta x OTTO | trade/off Summit | Heidelberg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7ACB37A-AAE0-81DF-7441-31336BD50678}"/>
              </a:ext>
            </a:extLst>
          </p:cNvPr>
          <p:cNvSpPr txBox="1"/>
          <p:nvPr/>
        </p:nvSpPr>
        <p:spPr>
          <a:xfrm>
            <a:off x="6589021" y="1991299"/>
            <a:ext cx="5246223" cy="172382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r>
              <a:rPr lang="de-DE" b="1" noProof="0">
                <a:ea typeface="Inter" pitchFamily="34" charset="-122"/>
                <a:cs typeface="Inter" pitchFamily="34" charset="-120"/>
              </a:rPr>
              <a:t>Reibung statt Produktivität</a:t>
            </a:r>
          </a:p>
          <a:p>
            <a:pPr>
              <a:lnSpc>
                <a:spcPts val="2200"/>
              </a:lnSpc>
            </a:pPr>
            <a:r>
              <a:rPr lang="de-DE" noProof="0">
                <a:ea typeface="Inter" pitchFamily="34" charset="-122"/>
              </a:rPr>
              <a:t>Jedes Team nutzt andere Tools, andere Prompts</a:t>
            </a:r>
          </a:p>
          <a:p>
            <a:pPr>
              <a:lnSpc>
                <a:spcPts val="2200"/>
              </a:lnSpc>
            </a:pPr>
            <a:endParaRPr lang="de-DE" b="1" noProof="0">
              <a:ea typeface="Inter" pitchFamily="34" charset="-122"/>
            </a:endParaRPr>
          </a:p>
          <a:p>
            <a:pPr>
              <a:lnSpc>
                <a:spcPts val="2200"/>
              </a:lnSpc>
            </a:pPr>
            <a:endParaRPr lang="de-DE" b="1" noProof="0">
              <a:ea typeface="Inter" pitchFamily="34" charset="-122"/>
            </a:endParaRPr>
          </a:p>
          <a:p>
            <a:pPr>
              <a:lnSpc>
                <a:spcPts val="2200"/>
              </a:lnSpc>
            </a:pPr>
            <a:r>
              <a:rPr lang="de-DE" b="1" noProof="0">
                <a:ea typeface="Inter" pitchFamily="34" charset="-122"/>
              </a:rPr>
              <a:t>Keine Wiederholbarkeit</a:t>
            </a:r>
          </a:p>
          <a:p>
            <a:pPr>
              <a:lnSpc>
                <a:spcPts val="2200"/>
              </a:lnSpc>
            </a:pPr>
            <a:r>
              <a:rPr lang="de-DE" noProof="0">
                <a:ea typeface="Inter" pitchFamily="34" charset="-122"/>
              </a:rPr>
              <a:t>Ergebnisse sind nicht reproduzierbar</a:t>
            </a:r>
          </a:p>
          <a:p>
            <a:pPr>
              <a:lnSpc>
                <a:spcPts val="2200"/>
              </a:lnSpc>
            </a:pPr>
            <a:endParaRPr lang="de-DE" noProof="0">
              <a:ea typeface="Inter" pitchFamily="34" charset="-122"/>
            </a:endParaRPr>
          </a:p>
          <a:p>
            <a:pPr>
              <a:lnSpc>
                <a:spcPts val="2200"/>
              </a:lnSpc>
            </a:pPr>
            <a:endParaRPr lang="de-DE" noProof="0">
              <a:ea typeface="Inter" pitchFamily="34" charset="-122"/>
            </a:endParaRPr>
          </a:p>
          <a:p>
            <a:pPr>
              <a:lnSpc>
                <a:spcPts val="2200"/>
              </a:lnSpc>
            </a:pPr>
            <a:r>
              <a:rPr lang="de-DE" b="1" noProof="0">
                <a:ea typeface="Inter" pitchFamily="34" charset="-122"/>
              </a:rPr>
              <a:t>Sicherheitsrisiken durch Shadow-AI</a:t>
            </a:r>
          </a:p>
          <a:p>
            <a:pPr>
              <a:lnSpc>
                <a:spcPts val="2200"/>
              </a:lnSpc>
            </a:pPr>
            <a:r>
              <a:rPr lang="de-DE" noProof="0">
                <a:ea typeface="Inter" pitchFamily="34" charset="-122"/>
              </a:rPr>
              <a:t>Niemand hat den Überblick</a:t>
            </a:r>
            <a:endParaRPr lang="de-DE" noProof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791CE7C-6B2F-A064-4985-F8235E1A01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888" y="2364194"/>
            <a:ext cx="5106040" cy="4088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630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0F4FF4-A774-A7F8-BEC2-79097E86CF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4940E21-5AB3-AE64-4FCB-A46BBE8DA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as Fundamen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49BF61-F76B-26D6-7D27-08BA250FB6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1D59A3E-60C4-85EF-B4FF-999FF0E98C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126"/>
            <a:r>
              <a:rPr lang="de-DE">
                <a:latin typeface="Sen ExtraBold"/>
              </a:rPr>
              <a:t>Exxeta x OTTO | trade/off Summit | Heidelberg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99A001A8-4E8B-DC13-B06A-FAEB7AABEB01}"/>
              </a:ext>
            </a:extLst>
          </p:cNvPr>
          <p:cNvSpPr/>
          <p:nvPr/>
        </p:nvSpPr>
        <p:spPr>
          <a:xfrm>
            <a:off x="-3447" y="1752600"/>
            <a:ext cx="12188825" cy="465662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rtlCol="0" anchor="ctr"/>
          <a:lstStyle/>
          <a:p>
            <a:pPr defTabSz="914126">
              <a:defRPr/>
            </a:pPr>
            <a:endParaRPr lang="de-DE" sz="1100" noProof="0">
              <a:solidFill>
                <a:prstClr val="black"/>
              </a:solidFill>
              <a:latin typeface="Sen ExtraBold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1C225AF-93A9-0AFA-B761-2C333403363C}"/>
              </a:ext>
            </a:extLst>
          </p:cNvPr>
          <p:cNvSpPr/>
          <p:nvPr/>
        </p:nvSpPr>
        <p:spPr>
          <a:xfrm>
            <a:off x="478783" y="3182487"/>
            <a:ext cx="3564000" cy="818493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tIns="0" rtlCol="0" anchor="ctr"/>
          <a:lstStyle/>
          <a:p>
            <a:pPr algn="ctr" defTabSz="914126">
              <a:lnSpc>
                <a:spcPct val="150000"/>
              </a:lnSpc>
              <a:defRPr/>
            </a:pPr>
            <a:r>
              <a:rPr lang="de-DE" sz="1799" noProof="0">
                <a:solidFill>
                  <a:prstClr val="white"/>
                </a:solidFill>
                <a:latin typeface="Bandeins Strange"/>
              </a:rPr>
              <a:t>GOVERNANCE</a:t>
            </a:r>
          </a:p>
          <a:p>
            <a:pPr algn="ctr" defTabSz="914126">
              <a:lnSpc>
                <a:spcPct val="150000"/>
              </a:lnSpc>
              <a:defRPr/>
            </a:pPr>
            <a:r>
              <a:rPr lang="de-DE" sz="1200" noProof="0">
                <a:solidFill>
                  <a:prstClr val="white"/>
                </a:solidFill>
              </a:rPr>
              <a:t>Leitplanken definieren, nicht blockier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2211214-BBE5-3C36-C582-691912C2E617}"/>
              </a:ext>
            </a:extLst>
          </p:cNvPr>
          <p:cNvSpPr/>
          <p:nvPr/>
        </p:nvSpPr>
        <p:spPr>
          <a:xfrm>
            <a:off x="4311320" y="3182486"/>
            <a:ext cx="3564000" cy="818493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tIns="0" rtlCol="0" anchor="ctr"/>
          <a:lstStyle/>
          <a:p>
            <a:pPr algn="ctr" defTabSz="914126">
              <a:lnSpc>
                <a:spcPct val="150000"/>
              </a:lnSpc>
              <a:defRPr/>
            </a:pPr>
            <a:r>
              <a:rPr lang="de-DE" sz="1799" noProof="0">
                <a:solidFill>
                  <a:prstClr val="white"/>
                </a:solidFill>
                <a:latin typeface="Bandeins Strange"/>
              </a:rPr>
              <a:t>SCHULUNG</a:t>
            </a:r>
          </a:p>
          <a:p>
            <a:pPr algn="ctr" defTabSz="914126">
              <a:lnSpc>
                <a:spcPct val="150000"/>
              </a:lnSpc>
              <a:defRPr/>
            </a:pPr>
            <a:r>
              <a:rPr lang="de-DE" sz="1200" noProof="0">
                <a:solidFill>
                  <a:prstClr val="white"/>
                </a:solidFill>
              </a:rPr>
              <a:t>Team befähigen, nicht alleine lass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3CD5D37-D7C1-662C-3524-A1BCA4F01389}"/>
              </a:ext>
            </a:extLst>
          </p:cNvPr>
          <p:cNvSpPr/>
          <p:nvPr/>
        </p:nvSpPr>
        <p:spPr>
          <a:xfrm>
            <a:off x="8143857" y="3182485"/>
            <a:ext cx="3564000" cy="818493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77" tIns="0" rtlCol="0" anchor="ctr"/>
          <a:lstStyle/>
          <a:p>
            <a:pPr algn="ctr" defTabSz="914126">
              <a:lnSpc>
                <a:spcPct val="150000"/>
              </a:lnSpc>
              <a:defRPr/>
            </a:pPr>
            <a:r>
              <a:rPr lang="de-DE" sz="1799" noProof="0">
                <a:solidFill>
                  <a:prstClr val="white"/>
                </a:solidFill>
                <a:latin typeface="Bandeins Strange"/>
              </a:rPr>
              <a:t>CHANGE MANAGEMENT</a:t>
            </a:r>
          </a:p>
          <a:p>
            <a:pPr algn="ctr" defTabSz="914126">
              <a:lnSpc>
                <a:spcPct val="150000"/>
              </a:lnSpc>
              <a:defRPr/>
            </a:pPr>
            <a:r>
              <a:rPr lang="de-DE" sz="1200" noProof="0">
                <a:solidFill>
                  <a:prstClr val="white"/>
                </a:solidFill>
              </a:rPr>
              <a:t>Kulturwandel aktiv gestalten</a:t>
            </a:r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F4314BB6-ECD8-263F-88FD-96B8BB648083}"/>
              </a:ext>
            </a:extLst>
          </p:cNvPr>
          <p:cNvCxnSpPr/>
          <p:nvPr/>
        </p:nvCxnSpPr>
        <p:spPr>
          <a:xfrm>
            <a:off x="3890865" y="3592286"/>
            <a:ext cx="451601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>
            <a:extLst>
              <a:ext uri="{FF2B5EF4-FFF2-40B4-BE49-F238E27FC236}">
                <a16:creationId xmlns:a16="http://schemas.microsoft.com/office/drawing/2014/main" id="{24B30F97-1A0D-B909-F717-6CA18DFB98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21494" y="1632412"/>
            <a:ext cx="740973" cy="1656053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2B2A07AD-1E65-86A0-C64D-4B03ABF048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9585" y="1632412"/>
            <a:ext cx="1356256" cy="1633302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F0FDBAA6-663B-D218-1339-A52821D6C4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47102" y="3912454"/>
            <a:ext cx="1813980" cy="2944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10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Exxeta Master Nov 2021">
  <a:themeElements>
    <a:clrScheme name="EXX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0000"/>
      </a:accent1>
      <a:accent2>
        <a:srgbClr val="FFFFFF"/>
      </a:accent2>
      <a:accent3>
        <a:srgbClr val="46DCFF"/>
      </a:accent3>
      <a:accent4>
        <a:srgbClr val="8CA5FF"/>
      </a:accent4>
      <a:accent5>
        <a:srgbClr val="EBFF59"/>
      </a:accent5>
      <a:accent6>
        <a:srgbClr val="000000"/>
      </a:accent6>
      <a:hlink>
        <a:srgbClr val="000000"/>
      </a:hlink>
      <a:folHlink>
        <a:srgbClr val="000000"/>
      </a:folHlink>
    </a:clrScheme>
    <a:fontScheme name="EXX">
      <a:majorFont>
        <a:latin typeface="Bandeins Strange"/>
        <a:ea typeface=""/>
        <a:cs typeface=""/>
      </a:majorFont>
      <a:minorFont>
        <a:latin typeface="Se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</a:spPr>
      <a:bodyPr lIns="90000" rtlCol="0" anchor="ctr"/>
      <a:lstStyle>
        <a:defPPr algn="l">
          <a:defRPr sz="11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custClrLst>
    <a:custClr name="Cyan">
      <a:srgbClr val="46DCFF"/>
    </a:custClr>
    <a:custClr name="Blau">
      <a:srgbClr val="8CA5FF"/>
    </a:custClr>
    <a:custClr name="Gelb">
      <a:srgbClr val="EBFF59"/>
    </a:custClr>
    <a:custClr name="Grün">
      <a:srgbClr val="8CF064"/>
    </a:custClr>
    <a:custClr name="Orange">
      <a:srgbClr val="FDD92A"/>
    </a:custClr>
    <a:custClr name="Rot">
      <a:srgbClr val="F54637"/>
    </a:custClr>
  </a:custClrLst>
  <a:extLst>
    <a:ext uri="{05A4C25C-085E-4340-85A3-A5531E510DB2}">
      <thm15:themeFamily xmlns:thm15="http://schemas.microsoft.com/office/thememl/2012/main" name="Exxeta-Teaser_DE_2025-11" id="{E5200B7A-3BA0-8143-AC7C-160F471F7F62}" vid="{73922D7F-D06E-F341-AD58-91E3BCE5B46F}"/>
    </a:ext>
  </a:extLst>
</a:theme>
</file>

<file path=ppt/theme/theme3.xml><?xml version="1.0" encoding="utf-8"?>
<a:theme xmlns:a="http://schemas.openxmlformats.org/drawingml/2006/main" name="Exxeta Master Nov 2021">
  <a:themeElements>
    <a:clrScheme name="EXX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0000"/>
      </a:accent1>
      <a:accent2>
        <a:srgbClr val="FFFFFF"/>
      </a:accent2>
      <a:accent3>
        <a:srgbClr val="46DCFF"/>
      </a:accent3>
      <a:accent4>
        <a:srgbClr val="8CA5FF"/>
      </a:accent4>
      <a:accent5>
        <a:srgbClr val="EBFF59"/>
      </a:accent5>
      <a:accent6>
        <a:srgbClr val="000000"/>
      </a:accent6>
      <a:hlink>
        <a:srgbClr val="000000"/>
      </a:hlink>
      <a:folHlink>
        <a:srgbClr val="000000"/>
      </a:folHlink>
    </a:clrScheme>
    <a:fontScheme name="EXX">
      <a:majorFont>
        <a:latin typeface="Bandeins Strange"/>
        <a:ea typeface=""/>
        <a:cs typeface=""/>
      </a:majorFont>
      <a:minorFont>
        <a:latin typeface="Se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</a:spPr>
      <a:bodyPr lIns="90000" rtlCol="0" anchor="ctr"/>
      <a:lstStyle>
        <a:defPPr algn="l">
          <a:defRPr sz="11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custClrLst>
    <a:custClr name="Cyan">
      <a:srgbClr val="46DCFF"/>
    </a:custClr>
    <a:custClr name="Blau">
      <a:srgbClr val="8CA5FF"/>
    </a:custClr>
    <a:custClr name="Gelb">
      <a:srgbClr val="EBFF59"/>
    </a:custClr>
    <a:custClr name="Grün">
      <a:srgbClr val="8CF064"/>
    </a:custClr>
    <a:custClr name="Orange">
      <a:srgbClr val="FDD92A"/>
    </a:custClr>
    <a:custClr name="Rot">
      <a:srgbClr val="F54637"/>
    </a:custClr>
  </a:custClrLst>
  <a:extLst>
    <a:ext uri="{05A4C25C-085E-4340-85A3-A5531E510DB2}">
      <thm15:themeFamily xmlns:thm15="http://schemas.microsoft.com/office/thememl/2012/main" name="211214 Exxeta Baukasten" id="{B472CB86-71F1-764F-9A90-90156A173F85}" vid="{107A1848-A872-BD4A-AABD-BF844BA4C95E}"/>
    </a:ext>
  </a:extLst>
</a:theme>
</file>

<file path=ppt/theme/theme4.xml><?xml version="1.0" encoding="utf-8"?>
<a:theme xmlns:a="http://schemas.openxmlformats.org/drawingml/2006/main" name="1_Exxeta Master 2024">
  <a:themeElements>
    <a:clrScheme name="EXX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0000"/>
      </a:accent1>
      <a:accent2>
        <a:srgbClr val="FFFFFF"/>
      </a:accent2>
      <a:accent3>
        <a:srgbClr val="46DCFF"/>
      </a:accent3>
      <a:accent4>
        <a:srgbClr val="8CA5FF"/>
      </a:accent4>
      <a:accent5>
        <a:srgbClr val="EBFF59"/>
      </a:accent5>
      <a:accent6>
        <a:srgbClr val="000000"/>
      </a:accent6>
      <a:hlink>
        <a:srgbClr val="000000"/>
      </a:hlink>
      <a:folHlink>
        <a:srgbClr val="000000"/>
      </a:folHlink>
    </a:clrScheme>
    <a:fontScheme name="EXX">
      <a:majorFont>
        <a:latin typeface="Bandeins Strange"/>
        <a:ea typeface=""/>
        <a:cs typeface=""/>
      </a:majorFont>
      <a:minorFont>
        <a:latin typeface="Se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</a:spPr>
      <a:bodyPr lIns="90000" rtlCol="0" anchor="ctr"/>
      <a:lstStyle>
        <a:defPPr algn="l">
          <a:defRPr sz="11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>
        <a:noAutofit/>
      </a:bodyPr>
      <a:lstStyle>
        <a:defPPr algn="l">
          <a:spcAft>
            <a:spcPts val="600"/>
          </a:spcAft>
          <a:defRPr sz="1400" dirty="0" smtClean="0"/>
        </a:defPPr>
      </a:lstStyle>
    </a:txDef>
  </a:objectDefaults>
  <a:extraClrSchemeLst/>
  <a:custClrLst>
    <a:custClr name="Cyan">
      <a:srgbClr val="46DCFF"/>
    </a:custClr>
    <a:custClr name="Blau">
      <a:srgbClr val="8CA5FF"/>
    </a:custClr>
    <a:custClr name="Gelb">
      <a:srgbClr val="EBFF59"/>
    </a:custClr>
    <a:custClr name="Grün">
      <a:srgbClr val="8CF064"/>
    </a:custClr>
    <a:custClr name="Orange">
      <a:srgbClr val="FDD92A"/>
    </a:custClr>
    <a:custClr name="Rot">
      <a:srgbClr val="F54637"/>
    </a:custClr>
  </a:custClrLst>
  <a:extLst>
    <a:ext uri="{05A4C25C-085E-4340-85A3-A5531E510DB2}">
      <thm15:themeFamily xmlns:thm15="http://schemas.microsoft.com/office/thememl/2012/main" name="Master_Template" id="{E4D1D7F3-2CC5-5D46-8E4B-C0E0F2F06300}" vid="{188A031D-315D-6A43-8CD0-5122CDEE662D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EXX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000000"/>
    </a:accent1>
    <a:accent2>
      <a:srgbClr val="FFFFFF"/>
    </a:accent2>
    <a:accent3>
      <a:srgbClr val="46DCFF"/>
    </a:accent3>
    <a:accent4>
      <a:srgbClr val="8CA5FF"/>
    </a:accent4>
    <a:accent5>
      <a:srgbClr val="EBFF59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2.xml><?xml version="1.0" encoding="utf-8"?>
<a:themeOverride xmlns:a="http://schemas.openxmlformats.org/drawingml/2006/main">
  <a:clrScheme name="EXX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000000"/>
    </a:accent1>
    <a:accent2>
      <a:srgbClr val="FFFFFF"/>
    </a:accent2>
    <a:accent3>
      <a:srgbClr val="46DCFF"/>
    </a:accent3>
    <a:accent4>
      <a:srgbClr val="8CA5FF"/>
    </a:accent4>
    <a:accent5>
      <a:srgbClr val="EBFF59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3.xml><?xml version="1.0" encoding="utf-8"?>
<a:themeOverride xmlns:a="http://schemas.openxmlformats.org/drawingml/2006/main">
  <a:clrScheme name="EXX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000000"/>
    </a:accent1>
    <a:accent2>
      <a:srgbClr val="FFFFFF"/>
    </a:accent2>
    <a:accent3>
      <a:srgbClr val="46DCFF"/>
    </a:accent3>
    <a:accent4>
      <a:srgbClr val="8CA5FF"/>
    </a:accent4>
    <a:accent5>
      <a:srgbClr val="EBFF59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4.xml><?xml version="1.0" encoding="utf-8"?>
<a:themeOverride xmlns:a="http://schemas.openxmlformats.org/drawingml/2006/main">
  <a:clrScheme name="EXX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000000"/>
    </a:accent1>
    <a:accent2>
      <a:srgbClr val="FFFFFF"/>
    </a:accent2>
    <a:accent3>
      <a:srgbClr val="46DCFF"/>
    </a:accent3>
    <a:accent4>
      <a:srgbClr val="8CA5FF"/>
    </a:accent4>
    <a:accent5>
      <a:srgbClr val="EBFF59"/>
    </a:accent5>
    <a:accent6>
      <a:srgbClr val="000000"/>
    </a:accent6>
    <a:hlink>
      <a:srgbClr val="000000"/>
    </a:hlink>
    <a:folHlink>
      <a:srgbClr val="000000"/>
    </a:folHlink>
  </a:clrScheme>
</a:themeOverride>
</file>

<file path=ppt/theme/themeOverride5.xml><?xml version="1.0" encoding="utf-8"?>
<a:themeOverride xmlns:a="http://schemas.openxmlformats.org/drawingml/2006/main">
  <a:clrScheme name="EXX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000000"/>
    </a:accent1>
    <a:accent2>
      <a:srgbClr val="FFFFFF"/>
    </a:accent2>
    <a:accent3>
      <a:srgbClr val="46DCFF"/>
    </a:accent3>
    <a:accent4>
      <a:srgbClr val="8CA5FF"/>
    </a:accent4>
    <a:accent5>
      <a:srgbClr val="EBFF59"/>
    </a:accent5>
    <a:accent6>
      <a:srgbClr val="000000"/>
    </a:accent6>
    <a:hlink>
      <a:srgbClr val="000000"/>
    </a:hlink>
    <a:folHlink>
      <a:srgbClr val="0000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fdc00109-8e74-4475-9ef2-0c87a3f5ac60" xsi:nil="true"/>
    <_ip_UnifiedCompliancePolicyProperties xmlns="http://schemas.microsoft.com/sharepoint/v3" xsi:nil="true"/>
    <lcf76f155ced4ddcb4097134ff3c332f xmlns="cfa6bf3e-fe42-4b44-a147-e73988bbf97f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7F641BC8762BF40900C717A96399A06" ma:contentTypeVersion="21" ma:contentTypeDescription="Ein neues Dokument erstellen." ma:contentTypeScope="" ma:versionID="f20f68c3996bae3aff0297a7ace929fd">
  <xsd:schema xmlns:xsd="http://www.w3.org/2001/XMLSchema" xmlns:xs="http://www.w3.org/2001/XMLSchema" xmlns:p="http://schemas.microsoft.com/office/2006/metadata/properties" xmlns:ns1="http://schemas.microsoft.com/sharepoint/v3" xmlns:ns2="cfa6bf3e-fe42-4b44-a147-e73988bbf97f" xmlns:ns3="fdc00109-8e74-4475-9ef2-0c87a3f5ac60" targetNamespace="http://schemas.microsoft.com/office/2006/metadata/properties" ma:root="true" ma:fieldsID="225496f40692c1e66e1cfc2053cc4361" ns1:_="" ns2:_="" ns3:_="">
    <xsd:import namespace="http://schemas.microsoft.com/sharepoint/v3"/>
    <xsd:import namespace="cfa6bf3e-fe42-4b44-a147-e73988bbf97f"/>
    <xsd:import namespace="fdc00109-8e74-4475-9ef2-0c87a3f5ac6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6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7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a6bf3e-fe42-4b44-a147-e73988bbf9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77a01bd7-dac9-4def-8195-c9b6b738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c00109-8e74-4475-9ef2-0c87a3f5ac60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c36536f-be97-42fd-987f-2676ce182f3c}" ma:internalName="TaxCatchAll" ma:showField="CatchAllData" ma:web="fdc00109-8e74-4475-9ef2-0c87a3f5ac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DF8CDE-D363-4D15-8254-9CA78D1FFD3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B146B96-6C91-4B59-B339-C08741A89614}">
  <ds:schemaRefs>
    <ds:schemaRef ds:uri="cfa6bf3e-fe42-4b44-a147-e73988bbf97f"/>
    <ds:schemaRef ds:uri="http://www.w3.org/XML/1998/namespace"/>
    <ds:schemaRef ds:uri="http://schemas.microsoft.com/office/2006/documentManagement/types"/>
    <ds:schemaRef ds:uri="http://purl.org/dc/terms/"/>
    <ds:schemaRef ds:uri="http://purl.org/dc/dcmitype/"/>
    <ds:schemaRef ds:uri="http://schemas.microsoft.com/office/2006/metadata/properties"/>
    <ds:schemaRef ds:uri="http://purl.org/dc/elements/1.1/"/>
    <ds:schemaRef ds:uri="fdc00109-8e74-4475-9ef2-0c87a3f5ac60"/>
    <ds:schemaRef ds:uri="http://schemas.microsoft.com/office/infopath/2007/PartnerControls"/>
    <ds:schemaRef ds:uri="http://schemas.openxmlformats.org/package/2006/metadata/core-properties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A7F92EBC-33B1-4FED-80CC-56E7FB01552F}">
  <ds:schemaRefs>
    <ds:schemaRef ds:uri="cfa6bf3e-fe42-4b44-a147-e73988bbf97f"/>
    <ds:schemaRef ds:uri="fdc00109-8e74-4475-9ef2-0c87a3f5ac6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338159a0-dd8f-45af-9672-faaa54bc6b24}" enabled="0" method="" siteId="{338159a0-dd8f-45af-9672-faaa54bc6b24}" removed="1"/>
  <clbl:label id="{8794e153-c3bd-4479-8bea-61aeaf167d5a}" enabled="0" method="" siteId="{8794e153-c3bd-4479-8bea-61aeaf167d5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98</Words>
  <Application>Microsoft Macintosh PowerPoint</Application>
  <PresentationFormat>Benutzerdefiniert</PresentationFormat>
  <Paragraphs>193</Paragraphs>
  <Slides>24</Slides>
  <Notes>2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7" baseType="lpstr">
      <vt:lpstr>Aptos</vt:lpstr>
      <vt:lpstr>Arial</vt:lpstr>
      <vt:lpstr>Bandeins Strange</vt:lpstr>
      <vt:lpstr>Bandeins Strange Bold Extd Full</vt:lpstr>
      <vt:lpstr>Bandeins Strange Bold Extd Half</vt:lpstr>
      <vt:lpstr>Inter</vt:lpstr>
      <vt:lpstr>Sen</vt:lpstr>
      <vt:lpstr>Sen ExtraBold</vt:lpstr>
      <vt:lpstr>Office Theme</vt:lpstr>
      <vt:lpstr>1_Exxeta Master Nov 2021</vt:lpstr>
      <vt:lpstr>Exxeta Master Nov 2021</vt:lpstr>
      <vt:lpstr>1_Exxeta Master 2024</vt:lpstr>
      <vt:lpstr>think-cell Folie</vt:lpstr>
      <vt:lpstr>AGENTIC AI IM REALITÄTSCHECK</vt:lpstr>
      <vt:lpstr>Agenda</vt:lpstr>
      <vt:lpstr>Diagnose</vt:lpstr>
      <vt:lpstr>AI Agents sind gekommen,  um zu bleiben </vt:lpstr>
      <vt:lpstr>Autonomie ≠ Produktivität</vt:lpstr>
      <vt:lpstr>Vibe Coding – Was wirklich passiert</vt:lpstr>
      <vt:lpstr>Strategie</vt:lpstr>
      <vt:lpstr>Schatteneffekte von unkoordiniertem AI-Einsatz</vt:lpstr>
      <vt:lpstr>Das Fundament</vt:lpstr>
      <vt:lpstr>Ein Team mit vs. ohne AI-Enablement </vt:lpstr>
      <vt:lpstr>Spec-Driven Development</vt:lpstr>
      <vt:lpstr>Spec-Driven – Der Unterschied</vt:lpstr>
      <vt:lpstr>SDD Landscape 2026</vt:lpstr>
      <vt:lpstr>Erfahrung &amp; Ausblick</vt:lpstr>
      <vt:lpstr>Structured Deployment</vt:lpstr>
      <vt:lpstr>PowerPoint-Präsentation</vt:lpstr>
      <vt:lpstr>PowerPoint-Präsentation</vt:lpstr>
      <vt:lpstr>PowerPoint-Präsentation</vt:lpstr>
      <vt:lpstr>PowerPoint-Präsentation</vt:lpstr>
      <vt:lpstr>3 Takeaways</vt:lpstr>
      <vt:lpstr>PowerPoint-Präsentation</vt:lpstr>
      <vt:lpstr>PowerPoint-Präsentation</vt:lpstr>
      <vt:lpstr>PowerPoint-Präsentation</vt:lpstr>
      <vt:lpstr>PowerPoint-Präsentation</vt:lpstr>
    </vt:vector>
  </TitlesOfParts>
  <Company>PptxGenJ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tic AI im Realitatscheck</dc:title>
  <dc:subject>Tradeoff AI 2026 - Heidelberg</dc:subject>
  <dc:creator>Marvin Kruse, André Lindberg</dc:creator>
  <cp:lastModifiedBy>Marvin Kruse</cp:lastModifiedBy>
  <cp:revision>1</cp:revision>
  <dcterms:created xsi:type="dcterms:W3CDTF">2026-05-07T05:50:21Z</dcterms:created>
  <dcterms:modified xsi:type="dcterms:W3CDTF">2026-05-12T07:5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F641BC8762BF40900C717A96399A06</vt:lpwstr>
  </property>
  <property fmtid="{D5CDD505-2E9C-101B-9397-08002B2CF9AE}" pid="3" name="MediaServiceImageTags">
    <vt:lpwstr/>
  </property>
</Properties>
</file>